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147376552" r:id="rId6"/>
    <p:sldId id="2147376554" r:id="rId7"/>
    <p:sldId id="261" r:id="rId8"/>
    <p:sldId id="269" r:id="rId9"/>
    <p:sldId id="2147376542" r:id="rId10"/>
    <p:sldId id="2147376550" r:id="rId11"/>
    <p:sldId id="2147376551" r:id="rId12"/>
    <p:sldId id="2147376545" r:id="rId13"/>
    <p:sldId id="257" r:id="rId14"/>
    <p:sldId id="2147376546" r:id="rId15"/>
    <p:sldId id="2147376547" r:id="rId16"/>
    <p:sldId id="2147376553" r:id="rId17"/>
    <p:sldId id="2147376549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15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8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7.svg"/><Relationship Id="rId5" Type="http://schemas.openxmlformats.org/officeDocument/2006/relationships/tags" Target="../tags/tag22.xml"/><Relationship Id="rId10" Type="http://schemas.openxmlformats.org/officeDocument/2006/relationships/image" Target="../media/image46.png"/><Relationship Id="rId4" Type="http://schemas.openxmlformats.org/officeDocument/2006/relationships/tags" Target="../tags/tag21.xml"/><Relationship Id="rId9" Type="http://schemas.openxmlformats.org/officeDocument/2006/relationships/image" Target="../media/image45.svg"/><Relationship Id="rId14" Type="http://schemas.openxmlformats.org/officeDocument/2006/relationships/hyperlink" Target="https://www.royalmailwholesale.com/testing-and-innovation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3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BACK TO SCHOOL INCENTIVE - 2025-2026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new volu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548173" y="2362151"/>
            <a:ext cx="363214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20% postage credit for up to 1m incremental advertising mail items</a:t>
            </a:r>
            <a:endParaRPr lang="en-GB" sz="28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51530" y="1367459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574278" y="2423569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9</a:t>
            </a:r>
            <a:r>
              <a:rPr lang="en-GB" baseline="30000" dirty="0"/>
              <a:t>th</a:t>
            </a:r>
            <a:r>
              <a:rPr lang="en-GB" dirty="0"/>
              <a:t> August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Tell us about the objectives and strategy for your new 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 or existing customer bas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, for exampl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centive Content guidance</a:t>
            </a:r>
          </a:p>
        </p:txBody>
      </p:sp>
      <p:sp>
        <p:nvSpPr>
          <p:cNvPr id="1058" name="Text Placeholder 1057">
            <a:extLst>
              <a:ext uri="{FF2B5EF4-FFF2-40B4-BE49-F238E27FC236}">
                <a16:creationId xmlns:a16="http://schemas.microsoft.com/office/drawing/2014/main" id="{62F650DE-0481-CDA9-6890-86F81E1C597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sp>
        <p:nvSpPr>
          <p:cNvPr id="1060" name="Content Placeholder 1059">
            <a:extLst>
              <a:ext uri="{FF2B5EF4-FFF2-40B4-BE49-F238E27FC236}">
                <a16:creationId xmlns:a16="http://schemas.microsoft.com/office/drawing/2014/main" id="{77EF3646-BBF2-4C39-4179-1A8BEF9F61A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7043375" cy="4476750"/>
          </a:xfrm>
        </p:spPr>
        <p:txBody>
          <a:bodyPr/>
          <a:lstStyle/>
          <a:p>
            <a:pPr marL="0" indent="0">
              <a:buNone/>
            </a:pPr>
            <a:r>
              <a:rPr lang="en-US" sz="1800" dirty="0"/>
              <a:t>Back to school shopping is the third biggest spending seasonal event in the UK, beaten only by Black Friday and Christmas.</a:t>
            </a:r>
          </a:p>
          <a:p>
            <a:pPr marL="0" indent="0">
              <a:buNone/>
            </a:pPr>
            <a:r>
              <a:rPr lang="en-US" dirty="0"/>
              <a:t>So, if your mailing is to support the sale of the following items you could qualify for this incentive:</a:t>
            </a:r>
          </a:p>
          <a:p>
            <a:r>
              <a:rPr lang="en-US" sz="1800" dirty="0"/>
              <a:t>School uniform</a:t>
            </a:r>
          </a:p>
          <a:p>
            <a:r>
              <a:rPr lang="en-US" sz="1800" dirty="0"/>
              <a:t>Footwear</a:t>
            </a:r>
          </a:p>
          <a:p>
            <a:r>
              <a:rPr lang="en-US" dirty="0"/>
              <a:t>Sportswear</a:t>
            </a:r>
          </a:p>
          <a:p>
            <a:r>
              <a:rPr lang="en-US" sz="1800" dirty="0"/>
              <a:t>Stationery</a:t>
            </a:r>
          </a:p>
          <a:p>
            <a:r>
              <a:rPr lang="en-US" dirty="0"/>
              <a:t>Computer equipment</a:t>
            </a:r>
          </a:p>
          <a:p>
            <a:r>
              <a:rPr lang="en-US" sz="1800" dirty="0"/>
              <a:t>Lunch boxes, etc</a:t>
            </a:r>
          </a:p>
        </p:txBody>
      </p:sp>
      <p:sp>
        <p:nvSpPr>
          <p:cNvPr id="1059" name="Text Placeholder 1058">
            <a:extLst>
              <a:ext uri="{FF2B5EF4-FFF2-40B4-BE49-F238E27FC236}">
                <a16:creationId xmlns:a16="http://schemas.microsoft.com/office/drawing/2014/main" id="{4F73BD18-24DF-6ACB-54F5-2B701A06857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grpSp>
        <p:nvGrpSpPr>
          <p:cNvPr id="11" name="Smart_shoe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F8DE02-02FF-08D3-83CD-7C3B225AC5B1}"/>
              </a:ext>
            </a:extLst>
          </p:cNvPr>
          <p:cNvGrpSpPr>
            <a:grpSpLocks noChangeAspect="1"/>
          </p:cNvGrpSpPr>
          <p:nvPr/>
        </p:nvGrpSpPr>
        <p:grpSpPr>
          <a:xfrm>
            <a:off x="7917792" y="2751976"/>
            <a:ext cx="1796755" cy="1779890"/>
            <a:chOff x="3154363" y="5657850"/>
            <a:chExt cx="676275" cy="669926"/>
          </a:xfrm>
          <a:solidFill>
            <a:schemeClr val="tx1"/>
          </a:solidFill>
        </p:grpSpPr>
        <p:sp>
          <p:nvSpPr>
            <p:cNvPr id="12" name="Freeform 560">
              <a:extLst>
                <a:ext uri="{FF2B5EF4-FFF2-40B4-BE49-F238E27FC236}">
                  <a16:creationId xmlns:a16="http://schemas.microsoft.com/office/drawing/2014/main" id="{C1224CA9-A86F-68C7-27EC-A08E1D9006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2838" y="6080125"/>
              <a:ext cx="36513" cy="36513"/>
            </a:xfrm>
            <a:custGeom>
              <a:avLst/>
              <a:gdLst>
                <a:gd name="T0" fmla="*/ 17 w 50"/>
                <a:gd name="T1" fmla="*/ 33 h 50"/>
                <a:gd name="T2" fmla="*/ 33 w 50"/>
                <a:gd name="T3" fmla="*/ 33 h 50"/>
                <a:gd name="T4" fmla="*/ 33 w 50"/>
                <a:gd name="T5" fmla="*/ 16 h 50"/>
                <a:gd name="T6" fmla="*/ 17 w 50"/>
                <a:gd name="T7" fmla="*/ 16 h 50"/>
                <a:gd name="T8" fmla="*/ 17 w 50"/>
                <a:gd name="T9" fmla="*/ 33 h 50"/>
                <a:gd name="T10" fmla="*/ 33 w 50"/>
                <a:gd name="T11" fmla="*/ 16 h 50"/>
                <a:gd name="T12" fmla="*/ 50 w 50"/>
                <a:gd name="T13" fmla="*/ 16 h 50"/>
                <a:gd name="T14" fmla="*/ 50 w 50"/>
                <a:gd name="T15" fmla="*/ 33 h 50"/>
                <a:gd name="T16" fmla="*/ 33 w 50"/>
                <a:gd name="T17" fmla="*/ 50 h 50"/>
                <a:gd name="T18" fmla="*/ 17 w 50"/>
                <a:gd name="T19" fmla="*/ 50 h 50"/>
                <a:gd name="T20" fmla="*/ 0 w 50"/>
                <a:gd name="T21" fmla="*/ 33 h 50"/>
                <a:gd name="T22" fmla="*/ 0 w 50"/>
                <a:gd name="T23" fmla="*/ 16 h 50"/>
                <a:gd name="T24" fmla="*/ 17 w 50"/>
                <a:gd name="T25" fmla="*/ 0 h 50"/>
                <a:gd name="T26" fmla="*/ 33 w 50"/>
                <a:gd name="T27" fmla="*/ 0 h 50"/>
                <a:gd name="T28" fmla="*/ 50 w 50"/>
                <a:gd name="T29" fmla="*/ 1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" h="50">
                  <a:moveTo>
                    <a:pt x="17" y="33"/>
                  </a:moveTo>
                  <a:lnTo>
                    <a:pt x="33" y="33"/>
                  </a:lnTo>
                  <a:lnTo>
                    <a:pt x="33" y="16"/>
                  </a:lnTo>
                  <a:lnTo>
                    <a:pt x="17" y="16"/>
                  </a:lnTo>
                  <a:lnTo>
                    <a:pt x="17" y="33"/>
                  </a:lnTo>
                  <a:close/>
                  <a:moveTo>
                    <a:pt x="33" y="16"/>
                  </a:moveTo>
                  <a:close/>
                  <a:moveTo>
                    <a:pt x="50" y="16"/>
                  </a:moveTo>
                  <a:lnTo>
                    <a:pt x="50" y="33"/>
                  </a:lnTo>
                  <a:cubicBezTo>
                    <a:pt x="50" y="42"/>
                    <a:pt x="43" y="50"/>
                    <a:pt x="33" y="50"/>
                  </a:cubicBezTo>
                  <a:lnTo>
                    <a:pt x="17" y="50"/>
                  </a:lnTo>
                  <a:cubicBezTo>
                    <a:pt x="7" y="50"/>
                    <a:pt x="0" y="42"/>
                    <a:pt x="0" y="33"/>
                  </a:cubicBezTo>
                  <a:lnTo>
                    <a:pt x="0" y="16"/>
                  </a:lnTo>
                  <a:cubicBezTo>
                    <a:pt x="0" y="7"/>
                    <a:pt x="7" y="0"/>
                    <a:pt x="17" y="0"/>
                  </a:cubicBezTo>
                  <a:lnTo>
                    <a:pt x="33" y="0"/>
                  </a:lnTo>
                  <a:cubicBezTo>
                    <a:pt x="43" y="0"/>
                    <a:pt x="50" y="7"/>
                    <a:pt x="50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3" name="Freeform 561">
              <a:extLst>
                <a:ext uri="{FF2B5EF4-FFF2-40B4-BE49-F238E27FC236}">
                  <a16:creationId xmlns:a16="http://schemas.microsoft.com/office/drawing/2014/main" id="{E0D7C18E-B18F-1303-1A0D-E502B0388BD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0138" y="5683250"/>
              <a:ext cx="61913" cy="12700"/>
            </a:xfrm>
            <a:custGeom>
              <a:avLst/>
              <a:gdLst>
                <a:gd name="T0" fmla="*/ 84 w 84"/>
                <a:gd name="T1" fmla="*/ 9 h 17"/>
                <a:gd name="T2" fmla="*/ 75 w 84"/>
                <a:gd name="T3" fmla="*/ 17 h 17"/>
                <a:gd name="T4" fmla="*/ 9 w 84"/>
                <a:gd name="T5" fmla="*/ 17 h 17"/>
                <a:gd name="T6" fmla="*/ 0 w 84"/>
                <a:gd name="T7" fmla="*/ 9 h 17"/>
                <a:gd name="T8" fmla="*/ 0 w 84"/>
                <a:gd name="T9" fmla="*/ 9 h 17"/>
                <a:gd name="T10" fmla="*/ 9 w 84"/>
                <a:gd name="T11" fmla="*/ 0 h 17"/>
                <a:gd name="T12" fmla="*/ 75 w 84"/>
                <a:gd name="T13" fmla="*/ 0 h 17"/>
                <a:gd name="T14" fmla="*/ 84 w 84"/>
                <a:gd name="T15" fmla="*/ 9 h 17"/>
                <a:gd name="T16" fmla="*/ 84 w 84"/>
                <a:gd name="T17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4" h="17">
                  <a:moveTo>
                    <a:pt x="84" y="9"/>
                  </a:moveTo>
                  <a:cubicBezTo>
                    <a:pt x="84" y="13"/>
                    <a:pt x="80" y="17"/>
                    <a:pt x="75" y="17"/>
                  </a:cubicBezTo>
                  <a:lnTo>
                    <a:pt x="9" y="17"/>
                  </a:lnTo>
                  <a:cubicBezTo>
                    <a:pt x="4" y="17"/>
                    <a:pt x="0" y="13"/>
                    <a:pt x="0" y="9"/>
                  </a:cubicBez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lnTo>
                    <a:pt x="75" y="0"/>
                  </a:lnTo>
                  <a:cubicBezTo>
                    <a:pt x="80" y="0"/>
                    <a:pt x="84" y="4"/>
                    <a:pt x="84" y="9"/>
                  </a:cubicBezTo>
                  <a:lnTo>
                    <a:pt x="84" y="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4" name="Freeform 562">
              <a:extLst>
                <a:ext uri="{FF2B5EF4-FFF2-40B4-BE49-F238E27FC236}">
                  <a16:creationId xmlns:a16="http://schemas.microsoft.com/office/drawing/2014/main" id="{EE6B82F6-D924-E562-B3F2-686C121CB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0238" y="5989638"/>
              <a:ext cx="655638" cy="282575"/>
            </a:xfrm>
            <a:custGeom>
              <a:avLst/>
              <a:gdLst>
                <a:gd name="T0" fmla="*/ 873 w 883"/>
                <a:gd name="T1" fmla="*/ 308 h 380"/>
                <a:gd name="T2" fmla="*/ 802 w 883"/>
                <a:gd name="T3" fmla="*/ 272 h 380"/>
                <a:gd name="T4" fmla="*/ 614 w 883"/>
                <a:gd name="T5" fmla="*/ 218 h 380"/>
                <a:gd name="T6" fmla="*/ 347 w 883"/>
                <a:gd name="T7" fmla="*/ 2 h 380"/>
                <a:gd name="T8" fmla="*/ 344 w 883"/>
                <a:gd name="T9" fmla="*/ 0 h 380"/>
                <a:gd name="T10" fmla="*/ 341 w 883"/>
                <a:gd name="T11" fmla="*/ 0 h 380"/>
                <a:gd name="T12" fmla="*/ 328 w 883"/>
                <a:gd name="T13" fmla="*/ 6 h 380"/>
                <a:gd name="T14" fmla="*/ 329 w 883"/>
                <a:gd name="T15" fmla="*/ 87 h 380"/>
                <a:gd name="T16" fmla="*/ 330 w 883"/>
                <a:gd name="T17" fmla="*/ 89 h 380"/>
                <a:gd name="T18" fmla="*/ 330 w 883"/>
                <a:gd name="T19" fmla="*/ 116 h 380"/>
                <a:gd name="T20" fmla="*/ 254 w 883"/>
                <a:gd name="T21" fmla="*/ 137 h 380"/>
                <a:gd name="T22" fmla="*/ 216 w 883"/>
                <a:gd name="T23" fmla="*/ 131 h 380"/>
                <a:gd name="T24" fmla="*/ 154 w 883"/>
                <a:gd name="T25" fmla="*/ 68 h 380"/>
                <a:gd name="T26" fmla="*/ 136 w 883"/>
                <a:gd name="T27" fmla="*/ 43 h 380"/>
                <a:gd name="T28" fmla="*/ 67 w 883"/>
                <a:gd name="T29" fmla="*/ 48 h 380"/>
                <a:gd name="T30" fmla="*/ 65 w 883"/>
                <a:gd name="T31" fmla="*/ 50 h 380"/>
                <a:gd name="T32" fmla="*/ 64 w 883"/>
                <a:gd name="T33" fmla="*/ 53 h 380"/>
                <a:gd name="T34" fmla="*/ 1 w 883"/>
                <a:gd name="T35" fmla="*/ 329 h 380"/>
                <a:gd name="T36" fmla="*/ 0 w 883"/>
                <a:gd name="T37" fmla="*/ 338 h 380"/>
                <a:gd name="T38" fmla="*/ 17 w 883"/>
                <a:gd name="T39" fmla="*/ 341 h 380"/>
                <a:gd name="T40" fmla="*/ 17 w 883"/>
                <a:gd name="T41" fmla="*/ 332 h 380"/>
                <a:gd name="T42" fmla="*/ 17 w 883"/>
                <a:gd name="T43" fmla="*/ 332 h 380"/>
                <a:gd name="T44" fmla="*/ 78 w 883"/>
                <a:gd name="T45" fmla="*/ 61 h 380"/>
                <a:gd name="T46" fmla="*/ 127 w 883"/>
                <a:gd name="T47" fmla="*/ 57 h 380"/>
                <a:gd name="T48" fmla="*/ 140 w 883"/>
                <a:gd name="T49" fmla="*/ 76 h 380"/>
                <a:gd name="T50" fmla="*/ 211 w 883"/>
                <a:gd name="T51" fmla="*/ 147 h 380"/>
                <a:gd name="T52" fmla="*/ 254 w 883"/>
                <a:gd name="T53" fmla="*/ 154 h 380"/>
                <a:gd name="T54" fmla="*/ 345 w 883"/>
                <a:gd name="T55" fmla="*/ 124 h 380"/>
                <a:gd name="T56" fmla="*/ 346 w 883"/>
                <a:gd name="T57" fmla="*/ 84 h 380"/>
                <a:gd name="T58" fmla="*/ 345 w 883"/>
                <a:gd name="T59" fmla="*/ 82 h 380"/>
                <a:gd name="T60" fmla="*/ 340 w 883"/>
                <a:gd name="T61" fmla="*/ 17 h 380"/>
                <a:gd name="T62" fmla="*/ 606 w 883"/>
                <a:gd name="T63" fmla="*/ 232 h 380"/>
                <a:gd name="T64" fmla="*/ 799 w 883"/>
                <a:gd name="T65" fmla="*/ 289 h 380"/>
                <a:gd name="T66" fmla="*/ 859 w 883"/>
                <a:gd name="T67" fmla="*/ 317 h 380"/>
                <a:gd name="T68" fmla="*/ 855 w 883"/>
                <a:gd name="T69" fmla="*/ 373 h 380"/>
                <a:gd name="T70" fmla="*/ 851 w 883"/>
                <a:gd name="T71" fmla="*/ 380 h 380"/>
                <a:gd name="T72" fmla="*/ 870 w 883"/>
                <a:gd name="T73" fmla="*/ 380 h 380"/>
                <a:gd name="T74" fmla="*/ 871 w 883"/>
                <a:gd name="T75" fmla="*/ 379 h 380"/>
                <a:gd name="T76" fmla="*/ 873 w 883"/>
                <a:gd name="T77" fmla="*/ 308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83" h="380">
                  <a:moveTo>
                    <a:pt x="873" y="308"/>
                  </a:moveTo>
                  <a:cubicBezTo>
                    <a:pt x="859" y="282"/>
                    <a:pt x="823" y="276"/>
                    <a:pt x="802" y="272"/>
                  </a:cubicBezTo>
                  <a:cubicBezTo>
                    <a:pt x="761" y="265"/>
                    <a:pt x="630" y="227"/>
                    <a:pt x="614" y="218"/>
                  </a:cubicBezTo>
                  <a:cubicBezTo>
                    <a:pt x="601" y="210"/>
                    <a:pt x="447" y="84"/>
                    <a:pt x="347" y="2"/>
                  </a:cubicBezTo>
                  <a:lnTo>
                    <a:pt x="344" y="0"/>
                  </a:lnTo>
                  <a:lnTo>
                    <a:pt x="341" y="0"/>
                  </a:lnTo>
                  <a:cubicBezTo>
                    <a:pt x="336" y="0"/>
                    <a:pt x="331" y="2"/>
                    <a:pt x="328" y="6"/>
                  </a:cubicBezTo>
                  <a:cubicBezTo>
                    <a:pt x="314" y="25"/>
                    <a:pt x="329" y="86"/>
                    <a:pt x="329" y="87"/>
                  </a:cubicBezTo>
                  <a:lnTo>
                    <a:pt x="330" y="89"/>
                  </a:lnTo>
                  <a:cubicBezTo>
                    <a:pt x="332" y="97"/>
                    <a:pt x="335" y="107"/>
                    <a:pt x="330" y="116"/>
                  </a:cubicBezTo>
                  <a:cubicBezTo>
                    <a:pt x="326" y="123"/>
                    <a:pt x="293" y="137"/>
                    <a:pt x="254" y="137"/>
                  </a:cubicBezTo>
                  <a:cubicBezTo>
                    <a:pt x="240" y="137"/>
                    <a:pt x="227" y="135"/>
                    <a:pt x="216" y="131"/>
                  </a:cubicBezTo>
                  <a:cubicBezTo>
                    <a:pt x="185" y="121"/>
                    <a:pt x="167" y="90"/>
                    <a:pt x="154" y="68"/>
                  </a:cubicBezTo>
                  <a:cubicBezTo>
                    <a:pt x="147" y="55"/>
                    <a:pt x="142" y="46"/>
                    <a:pt x="136" y="43"/>
                  </a:cubicBezTo>
                  <a:cubicBezTo>
                    <a:pt x="119" y="33"/>
                    <a:pt x="88" y="35"/>
                    <a:pt x="67" y="48"/>
                  </a:cubicBezTo>
                  <a:lnTo>
                    <a:pt x="65" y="50"/>
                  </a:lnTo>
                  <a:lnTo>
                    <a:pt x="64" y="53"/>
                  </a:lnTo>
                  <a:cubicBezTo>
                    <a:pt x="38" y="122"/>
                    <a:pt x="2" y="320"/>
                    <a:pt x="1" y="329"/>
                  </a:cubicBezTo>
                  <a:cubicBezTo>
                    <a:pt x="1" y="329"/>
                    <a:pt x="0" y="333"/>
                    <a:pt x="0" y="338"/>
                  </a:cubicBezTo>
                  <a:cubicBezTo>
                    <a:pt x="6" y="339"/>
                    <a:pt x="11" y="340"/>
                    <a:pt x="17" y="341"/>
                  </a:cubicBezTo>
                  <a:cubicBezTo>
                    <a:pt x="17" y="335"/>
                    <a:pt x="17" y="332"/>
                    <a:pt x="17" y="332"/>
                  </a:cubicBezTo>
                  <a:lnTo>
                    <a:pt x="17" y="332"/>
                  </a:lnTo>
                  <a:cubicBezTo>
                    <a:pt x="18" y="330"/>
                    <a:pt x="54" y="132"/>
                    <a:pt x="78" y="61"/>
                  </a:cubicBezTo>
                  <a:cubicBezTo>
                    <a:pt x="94" y="52"/>
                    <a:pt x="116" y="50"/>
                    <a:pt x="127" y="57"/>
                  </a:cubicBezTo>
                  <a:cubicBezTo>
                    <a:pt x="130" y="59"/>
                    <a:pt x="135" y="68"/>
                    <a:pt x="140" y="76"/>
                  </a:cubicBezTo>
                  <a:cubicBezTo>
                    <a:pt x="153" y="99"/>
                    <a:pt x="174" y="135"/>
                    <a:pt x="211" y="147"/>
                  </a:cubicBezTo>
                  <a:cubicBezTo>
                    <a:pt x="224" y="152"/>
                    <a:pt x="238" y="154"/>
                    <a:pt x="254" y="154"/>
                  </a:cubicBezTo>
                  <a:cubicBezTo>
                    <a:pt x="293" y="154"/>
                    <a:pt x="338" y="139"/>
                    <a:pt x="345" y="124"/>
                  </a:cubicBezTo>
                  <a:cubicBezTo>
                    <a:pt x="353" y="109"/>
                    <a:pt x="348" y="94"/>
                    <a:pt x="346" y="84"/>
                  </a:cubicBezTo>
                  <a:lnTo>
                    <a:pt x="345" y="82"/>
                  </a:lnTo>
                  <a:cubicBezTo>
                    <a:pt x="340" y="64"/>
                    <a:pt x="336" y="26"/>
                    <a:pt x="340" y="17"/>
                  </a:cubicBezTo>
                  <a:cubicBezTo>
                    <a:pt x="379" y="49"/>
                    <a:pt x="588" y="222"/>
                    <a:pt x="606" y="232"/>
                  </a:cubicBezTo>
                  <a:cubicBezTo>
                    <a:pt x="625" y="243"/>
                    <a:pt x="764" y="282"/>
                    <a:pt x="799" y="289"/>
                  </a:cubicBezTo>
                  <a:cubicBezTo>
                    <a:pt x="824" y="293"/>
                    <a:pt x="849" y="299"/>
                    <a:pt x="859" y="317"/>
                  </a:cubicBezTo>
                  <a:cubicBezTo>
                    <a:pt x="866" y="329"/>
                    <a:pt x="865" y="348"/>
                    <a:pt x="855" y="373"/>
                  </a:cubicBezTo>
                  <a:cubicBezTo>
                    <a:pt x="854" y="375"/>
                    <a:pt x="853" y="378"/>
                    <a:pt x="851" y="380"/>
                  </a:cubicBezTo>
                  <a:lnTo>
                    <a:pt x="870" y="380"/>
                  </a:lnTo>
                  <a:cubicBezTo>
                    <a:pt x="870" y="380"/>
                    <a:pt x="871" y="379"/>
                    <a:pt x="871" y="379"/>
                  </a:cubicBezTo>
                  <a:cubicBezTo>
                    <a:pt x="882" y="349"/>
                    <a:pt x="883" y="326"/>
                    <a:pt x="873" y="30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5" name="Freeform 563">
              <a:extLst>
                <a:ext uri="{FF2B5EF4-FFF2-40B4-BE49-F238E27FC236}">
                  <a16:creationId xmlns:a16="http://schemas.microsoft.com/office/drawing/2014/main" id="{55792ED7-CB78-806A-2DB6-A31C73C6F8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3626" y="6143625"/>
              <a:ext cx="28575" cy="31750"/>
            </a:xfrm>
            <a:custGeom>
              <a:avLst/>
              <a:gdLst>
                <a:gd name="T0" fmla="*/ 10 w 39"/>
                <a:gd name="T1" fmla="*/ 44 h 44"/>
                <a:gd name="T2" fmla="*/ 5 w 39"/>
                <a:gd name="T3" fmla="*/ 42 h 44"/>
                <a:gd name="T4" fmla="*/ 3 w 39"/>
                <a:gd name="T5" fmla="*/ 30 h 44"/>
                <a:gd name="T6" fmla="*/ 23 w 39"/>
                <a:gd name="T7" fmla="*/ 4 h 44"/>
                <a:gd name="T8" fmla="*/ 35 w 39"/>
                <a:gd name="T9" fmla="*/ 2 h 44"/>
                <a:gd name="T10" fmla="*/ 37 w 39"/>
                <a:gd name="T11" fmla="*/ 14 h 44"/>
                <a:gd name="T12" fmla="*/ 16 w 39"/>
                <a:gd name="T13" fmla="*/ 41 h 44"/>
                <a:gd name="T14" fmla="*/ 10 w 39"/>
                <a:gd name="T15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4">
                  <a:moveTo>
                    <a:pt x="10" y="44"/>
                  </a:moveTo>
                  <a:cubicBezTo>
                    <a:pt x="8" y="44"/>
                    <a:pt x="6" y="43"/>
                    <a:pt x="5" y="42"/>
                  </a:cubicBezTo>
                  <a:cubicBezTo>
                    <a:pt x="1" y="39"/>
                    <a:pt x="0" y="34"/>
                    <a:pt x="3" y="30"/>
                  </a:cubicBezTo>
                  <a:lnTo>
                    <a:pt x="23" y="4"/>
                  </a:lnTo>
                  <a:cubicBezTo>
                    <a:pt x="26" y="0"/>
                    <a:pt x="31" y="0"/>
                    <a:pt x="35" y="2"/>
                  </a:cubicBezTo>
                  <a:cubicBezTo>
                    <a:pt x="39" y="5"/>
                    <a:pt x="39" y="11"/>
                    <a:pt x="37" y="14"/>
                  </a:cubicBezTo>
                  <a:lnTo>
                    <a:pt x="16" y="41"/>
                  </a:lnTo>
                  <a:cubicBezTo>
                    <a:pt x="15" y="43"/>
                    <a:pt x="12" y="44"/>
                    <a:pt x="10" y="4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6" name="Freeform 564">
              <a:extLst>
                <a:ext uri="{FF2B5EF4-FFF2-40B4-BE49-F238E27FC236}">
                  <a16:creationId xmlns:a16="http://schemas.microsoft.com/office/drawing/2014/main" id="{ED77B7DB-D812-D872-AEA6-30318C564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051" y="6122988"/>
              <a:ext cx="33338" cy="38100"/>
            </a:xfrm>
            <a:custGeom>
              <a:avLst/>
              <a:gdLst>
                <a:gd name="T0" fmla="*/ 9 w 45"/>
                <a:gd name="T1" fmla="*/ 50 h 50"/>
                <a:gd name="T2" fmla="*/ 4 w 45"/>
                <a:gd name="T3" fmla="*/ 48 h 50"/>
                <a:gd name="T4" fmla="*/ 3 w 45"/>
                <a:gd name="T5" fmla="*/ 36 h 50"/>
                <a:gd name="T6" fmla="*/ 29 w 45"/>
                <a:gd name="T7" fmla="*/ 4 h 50"/>
                <a:gd name="T8" fmla="*/ 41 w 45"/>
                <a:gd name="T9" fmla="*/ 3 h 50"/>
                <a:gd name="T10" fmla="*/ 42 w 45"/>
                <a:gd name="T11" fmla="*/ 15 h 50"/>
                <a:gd name="T12" fmla="*/ 16 w 45"/>
                <a:gd name="T13" fmla="*/ 47 h 50"/>
                <a:gd name="T14" fmla="*/ 9 w 45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50">
                  <a:moveTo>
                    <a:pt x="9" y="50"/>
                  </a:moveTo>
                  <a:cubicBezTo>
                    <a:pt x="7" y="50"/>
                    <a:pt x="5" y="49"/>
                    <a:pt x="4" y="48"/>
                  </a:cubicBezTo>
                  <a:cubicBezTo>
                    <a:pt x="0" y="45"/>
                    <a:pt x="0" y="40"/>
                    <a:pt x="3" y="36"/>
                  </a:cubicBezTo>
                  <a:lnTo>
                    <a:pt x="29" y="4"/>
                  </a:lnTo>
                  <a:cubicBezTo>
                    <a:pt x="32" y="1"/>
                    <a:pt x="37" y="0"/>
                    <a:pt x="41" y="3"/>
                  </a:cubicBezTo>
                  <a:cubicBezTo>
                    <a:pt x="44" y="6"/>
                    <a:pt x="45" y="11"/>
                    <a:pt x="42" y="15"/>
                  </a:cubicBezTo>
                  <a:lnTo>
                    <a:pt x="16" y="47"/>
                  </a:lnTo>
                  <a:cubicBezTo>
                    <a:pt x="14" y="49"/>
                    <a:pt x="12" y="50"/>
                    <a:pt x="9" y="5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7" name="Freeform 565">
              <a:extLst>
                <a:ext uri="{FF2B5EF4-FFF2-40B4-BE49-F238E27FC236}">
                  <a16:creationId xmlns:a16="http://schemas.microsoft.com/office/drawing/2014/main" id="{31105B90-EF86-10A0-01F8-33157E3FC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9651" y="6103938"/>
              <a:ext cx="34925" cy="38100"/>
            </a:xfrm>
            <a:custGeom>
              <a:avLst/>
              <a:gdLst>
                <a:gd name="T0" fmla="*/ 9 w 47"/>
                <a:gd name="T1" fmla="*/ 51 h 51"/>
                <a:gd name="T2" fmla="*/ 3 w 47"/>
                <a:gd name="T3" fmla="*/ 49 h 51"/>
                <a:gd name="T4" fmla="*/ 3 w 47"/>
                <a:gd name="T5" fmla="*/ 37 h 51"/>
                <a:gd name="T6" fmla="*/ 32 w 47"/>
                <a:gd name="T7" fmla="*/ 4 h 51"/>
                <a:gd name="T8" fmla="*/ 44 w 47"/>
                <a:gd name="T9" fmla="*/ 3 h 51"/>
                <a:gd name="T10" fmla="*/ 44 w 47"/>
                <a:gd name="T11" fmla="*/ 15 h 51"/>
                <a:gd name="T12" fmla="*/ 15 w 47"/>
                <a:gd name="T13" fmla="*/ 48 h 51"/>
                <a:gd name="T14" fmla="*/ 9 w 47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51">
                  <a:moveTo>
                    <a:pt x="9" y="51"/>
                  </a:moveTo>
                  <a:cubicBezTo>
                    <a:pt x="7" y="51"/>
                    <a:pt x="5" y="50"/>
                    <a:pt x="3" y="49"/>
                  </a:cubicBezTo>
                  <a:cubicBezTo>
                    <a:pt x="0" y="46"/>
                    <a:pt x="0" y="41"/>
                    <a:pt x="3" y="37"/>
                  </a:cubicBezTo>
                  <a:lnTo>
                    <a:pt x="32" y="4"/>
                  </a:lnTo>
                  <a:cubicBezTo>
                    <a:pt x="35" y="1"/>
                    <a:pt x="40" y="0"/>
                    <a:pt x="44" y="3"/>
                  </a:cubicBezTo>
                  <a:cubicBezTo>
                    <a:pt x="47" y="7"/>
                    <a:pt x="47" y="12"/>
                    <a:pt x="44" y="15"/>
                  </a:cubicBezTo>
                  <a:lnTo>
                    <a:pt x="15" y="48"/>
                  </a:lnTo>
                  <a:cubicBezTo>
                    <a:pt x="13" y="50"/>
                    <a:pt x="11" y="51"/>
                    <a:pt x="9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8" name="Freeform 566">
              <a:extLst>
                <a:ext uri="{FF2B5EF4-FFF2-40B4-BE49-F238E27FC236}">
                  <a16:creationId xmlns:a16="http://schemas.microsoft.com/office/drawing/2014/main" id="{533DD021-F45D-A503-63E8-B074BFF36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2663" y="6084888"/>
              <a:ext cx="36513" cy="38100"/>
            </a:xfrm>
            <a:custGeom>
              <a:avLst/>
              <a:gdLst>
                <a:gd name="T0" fmla="*/ 9 w 49"/>
                <a:gd name="T1" fmla="*/ 50 h 50"/>
                <a:gd name="T2" fmla="*/ 4 w 49"/>
                <a:gd name="T3" fmla="*/ 48 h 50"/>
                <a:gd name="T4" fmla="*/ 3 w 49"/>
                <a:gd name="T5" fmla="*/ 36 h 50"/>
                <a:gd name="T6" fmla="*/ 34 w 49"/>
                <a:gd name="T7" fmla="*/ 4 h 50"/>
                <a:gd name="T8" fmla="*/ 46 w 49"/>
                <a:gd name="T9" fmla="*/ 3 h 50"/>
                <a:gd name="T10" fmla="*/ 46 w 49"/>
                <a:gd name="T11" fmla="*/ 15 h 50"/>
                <a:gd name="T12" fmla="*/ 15 w 49"/>
                <a:gd name="T13" fmla="*/ 47 h 50"/>
                <a:gd name="T14" fmla="*/ 9 w 49"/>
                <a:gd name="T15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0">
                  <a:moveTo>
                    <a:pt x="9" y="50"/>
                  </a:moveTo>
                  <a:cubicBezTo>
                    <a:pt x="7" y="50"/>
                    <a:pt x="5" y="49"/>
                    <a:pt x="4" y="48"/>
                  </a:cubicBezTo>
                  <a:cubicBezTo>
                    <a:pt x="0" y="44"/>
                    <a:pt x="0" y="39"/>
                    <a:pt x="3" y="36"/>
                  </a:cubicBezTo>
                  <a:lnTo>
                    <a:pt x="34" y="4"/>
                  </a:lnTo>
                  <a:cubicBezTo>
                    <a:pt x="37" y="0"/>
                    <a:pt x="43" y="0"/>
                    <a:pt x="46" y="3"/>
                  </a:cubicBezTo>
                  <a:cubicBezTo>
                    <a:pt x="49" y="7"/>
                    <a:pt x="49" y="12"/>
                    <a:pt x="46" y="15"/>
                  </a:cubicBezTo>
                  <a:lnTo>
                    <a:pt x="15" y="47"/>
                  </a:lnTo>
                  <a:cubicBezTo>
                    <a:pt x="14" y="49"/>
                    <a:pt x="12" y="50"/>
                    <a:pt x="9" y="5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9" name="Freeform 567">
              <a:extLst>
                <a:ext uri="{FF2B5EF4-FFF2-40B4-BE49-F238E27FC236}">
                  <a16:creationId xmlns:a16="http://schemas.microsoft.com/office/drawing/2014/main" id="{79546B1D-1B9D-3A9E-D591-689C37D3E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676" y="6065838"/>
              <a:ext cx="41275" cy="39688"/>
            </a:xfrm>
            <a:custGeom>
              <a:avLst/>
              <a:gdLst>
                <a:gd name="T0" fmla="*/ 9 w 54"/>
                <a:gd name="T1" fmla="*/ 54 h 54"/>
                <a:gd name="T2" fmla="*/ 3 w 54"/>
                <a:gd name="T3" fmla="*/ 52 h 54"/>
                <a:gd name="T4" fmla="*/ 3 w 54"/>
                <a:gd name="T5" fmla="*/ 40 h 54"/>
                <a:gd name="T6" fmla="*/ 38 w 54"/>
                <a:gd name="T7" fmla="*/ 3 h 54"/>
                <a:gd name="T8" fmla="*/ 50 w 54"/>
                <a:gd name="T9" fmla="*/ 3 h 54"/>
                <a:gd name="T10" fmla="*/ 50 w 54"/>
                <a:gd name="T11" fmla="*/ 15 h 54"/>
                <a:gd name="T12" fmla="*/ 15 w 54"/>
                <a:gd name="T13" fmla="*/ 52 h 54"/>
                <a:gd name="T14" fmla="*/ 9 w 54"/>
                <a:gd name="T1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4">
                  <a:moveTo>
                    <a:pt x="9" y="54"/>
                  </a:moveTo>
                  <a:cubicBezTo>
                    <a:pt x="7" y="54"/>
                    <a:pt x="5" y="53"/>
                    <a:pt x="3" y="52"/>
                  </a:cubicBezTo>
                  <a:cubicBezTo>
                    <a:pt x="0" y="49"/>
                    <a:pt x="0" y="43"/>
                    <a:pt x="3" y="40"/>
                  </a:cubicBezTo>
                  <a:lnTo>
                    <a:pt x="38" y="3"/>
                  </a:lnTo>
                  <a:cubicBezTo>
                    <a:pt x="42" y="0"/>
                    <a:pt x="47" y="0"/>
                    <a:pt x="50" y="3"/>
                  </a:cubicBezTo>
                  <a:cubicBezTo>
                    <a:pt x="53" y="7"/>
                    <a:pt x="54" y="12"/>
                    <a:pt x="50" y="15"/>
                  </a:cubicBezTo>
                  <a:lnTo>
                    <a:pt x="15" y="52"/>
                  </a:lnTo>
                  <a:cubicBezTo>
                    <a:pt x="13" y="53"/>
                    <a:pt x="11" y="54"/>
                    <a:pt x="9" y="5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1" name="Freeform 568">
              <a:extLst>
                <a:ext uri="{FF2B5EF4-FFF2-40B4-BE49-F238E27FC236}">
                  <a16:creationId xmlns:a16="http://schemas.microsoft.com/office/drawing/2014/main" id="{12B04415-F2B1-6C28-2107-CF38AE386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563" y="6054725"/>
              <a:ext cx="303213" cy="219075"/>
            </a:xfrm>
            <a:custGeom>
              <a:avLst/>
              <a:gdLst>
                <a:gd name="T0" fmla="*/ 7 w 407"/>
                <a:gd name="T1" fmla="*/ 184 h 295"/>
                <a:gd name="T2" fmla="*/ 61 w 407"/>
                <a:gd name="T3" fmla="*/ 253 h 295"/>
                <a:gd name="T4" fmla="*/ 65 w 407"/>
                <a:gd name="T5" fmla="*/ 271 h 295"/>
                <a:gd name="T6" fmla="*/ 162 w 407"/>
                <a:gd name="T7" fmla="*/ 287 h 295"/>
                <a:gd name="T8" fmla="*/ 139 w 407"/>
                <a:gd name="T9" fmla="*/ 280 h 295"/>
                <a:gd name="T10" fmla="*/ 80 w 407"/>
                <a:gd name="T11" fmla="*/ 264 h 295"/>
                <a:gd name="T12" fmla="*/ 77 w 407"/>
                <a:gd name="T13" fmla="*/ 251 h 295"/>
                <a:gd name="T14" fmla="*/ 24 w 407"/>
                <a:gd name="T15" fmla="*/ 173 h 295"/>
                <a:gd name="T16" fmla="*/ 44 w 407"/>
                <a:gd name="T17" fmla="*/ 152 h 295"/>
                <a:gd name="T18" fmla="*/ 195 w 407"/>
                <a:gd name="T19" fmla="*/ 20 h 295"/>
                <a:gd name="T20" fmla="*/ 353 w 407"/>
                <a:gd name="T21" fmla="*/ 146 h 295"/>
                <a:gd name="T22" fmla="*/ 388 w 407"/>
                <a:gd name="T23" fmla="*/ 159 h 295"/>
                <a:gd name="T24" fmla="*/ 387 w 407"/>
                <a:gd name="T25" fmla="*/ 171 h 295"/>
                <a:gd name="T26" fmla="*/ 335 w 407"/>
                <a:gd name="T27" fmla="*/ 192 h 295"/>
                <a:gd name="T28" fmla="*/ 201 w 407"/>
                <a:gd name="T29" fmla="*/ 293 h 295"/>
                <a:gd name="T30" fmla="*/ 218 w 407"/>
                <a:gd name="T31" fmla="*/ 295 h 295"/>
                <a:gd name="T32" fmla="*/ 338 w 407"/>
                <a:gd name="T33" fmla="*/ 208 h 295"/>
                <a:gd name="T34" fmla="*/ 401 w 407"/>
                <a:gd name="T35" fmla="*/ 179 h 295"/>
                <a:gd name="T36" fmla="*/ 403 w 407"/>
                <a:gd name="T37" fmla="*/ 150 h 295"/>
                <a:gd name="T38" fmla="*/ 398 w 407"/>
                <a:gd name="T39" fmla="*/ 145 h 295"/>
                <a:gd name="T40" fmla="*/ 361 w 407"/>
                <a:gd name="T41" fmla="*/ 132 h 295"/>
                <a:gd name="T42" fmla="*/ 199 w 407"/>
                <a:gd name="T43" fmla="*/ 2 h 295"/>
                <a:gd name="T44" fmla="*/ 192 w 407"/>
                <a:gd name="T45" fmla="*/ 1 h 295"/>
                <a:gd name="T46" fmla="*/ 185 w 407"/>
                <a:gd name="T47" fmla="*/ 5 h 295"/>
                <a:gd name="T48" fmla="*/ 185 w 407"/>
                <a:gd name="T49" fmla="*/ 7 h 295"/>
                <a:gd name="T50" fmla="*/ 32 w 407"/>
                <a:gd name="T51" fmla="*/ 141 h 295"/>
                <a:gd name="T52" fmla="*/ 3 w 407"/>
                <a:gd name="T53" fmla="*/ 171 h 295"/>
                <a:gd name="T54" fmla="*/ 1 w 407"/>
                <a:gd name="T55" fmla="*/ 179 h 295"/>
                <a:gd name="T56" fmla="*/ 7 w 407"/>
                <a:gd name="T57" fmla="*/ 18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7" h="295">
                  <a:moveTo>
                    <a:pt x="7" y="184"/>
                  </a:moveTo>
                  <a:cubicBezTo>
                    <a:pt x="53" y="199"/>
                    <a:pt x="58" y="230"/>
                    <a:pt x="61" y="253"/>
                  </a:cubicBezTo>
                  <a:cubicBezTo>
                    <a:pt x="62" y="260"/>
                    <a:pt x="63" y="266"/>
                    <a:pt x="65" y="271"/>
                  </a:cubicBezTo>
                  <a:cubicBezTo>
                    <a:pt x="94" y="275"/>
                    <a:pt x="126" y="281"/>
                    <a:pt x="162" y="287"/>
                  </a:cubicBezTo>
                  <a:cubicBezTo>
                    <a:pt x="154" y="285"/>
                    <a:pt x="147" y="282"/>
                    <a:pt x="139" y="280"/>
                  </a:cubicBezTo>
                  <a:cubicBezTo>
                    <a:pt x="120" y="274"/>
                    <a:pt x="100" y="267"/>
                    <a:pt x="80" y="264"/>
                  </a:cubicBezTo>
                  <a:cubicBezTo>
                    <a:pt x="79" y="261"/>
                    <a:pt x="78" y="255"/>
                    <a:pt x="77" y="251"/>
                  </a:cubicBezTo>
                  <a:cubicBezTo>
                    <a:pt x="74" y="230"/>
                    <a:pt x="69" y="193"/>
                    <a:pt x="24" y="173"/>
                  </a:cubicBezTo>
                  <a:cubicBezTo>
                    <a:pt x="32" y="166"/>
                    <a:pt x="38" y="159"/>
                    <a:pt x="44" y="152"/>
                  </a:cubicBezTo>
                  <a:cubicBezTo>
                    <a:pt x="74" y="121"/>
                    <a:pt x="97" y="96"/>
                    <a:pt x="195" y="20"/>
                  </a:cubicBezTo>
                  <a:cubicBezTo>
                    <a:pt x="340" y="139"/>
                    <a:pt x="349" y="144"/>
                    <a:pt x="353" y="146"/>
                  </a:cubicBezTo>
                  <a:cubicBezTo>
                    <a:pt x="354" y="147"/>
                    <a:pt x="360" y="150"/>
                    <a:pt x="388" y="159"/>
                  </a:cubicBezTo>
                  <a:cubicBezTo>
                    <a:pt x="389" y="164"/>
                    <a:pt x="389" y="168"/>
                    <a:pt x="387" y="171"/>
                  </a:cubicBezTo>
                  <a:cubicBezTo>
                    <a:pt x="381" y="181"/>
                    <a:pt x="358" y="186"/>
                    <a:pt x="335" y="192"/>
                  </a:cubicBezTo>
                  <a:cubicBezTo>
                    <a:pt x="285" y="203"/>
                    <a:pt x="218" y="218"/>
                    <a:pt x="201" y="293"/>
                  </a:cubicBezTo>
                  <a:cubicBezTo>
                    <a:pt x="206" y="294"/>
                    <a:pt x="212" y="294"/>
                    <a:pt x="218" y="295"/>
                  </a:cubicBezTo>
                  <a:cubicBezTo>
                    <a:pt x="233" y="232"/>
                    <a:pt x="291" y="219"/>
                    <a:pt x="338" y="208"/>
                  </a:cubicBezTo>
                  <a:cubicBezTo>
                    <a:pt x="367" y="202"/>
                    <a:pt x="392" y="196"/>
                    <a:pt x="401" y="179"/>
                  </a:cubicBezTo>
                  <a:cubicBezTo>
                    <a:pt x="406" y="171"/>
                    <a:pt x="407" y="162"/>
                    <a:pt x="403" y="150"/>
                  </a:cubicBezTo>
                  <a:cubicBezTo>
                    <a:pt x="402" y="148"/>
                    <a:pt x="400" y="146"/>
                    <a:pt x="398" y="145"/>
                  </a:cubicBezTo>
                  <a:cubicBezTo>
                    <a:pt x="370" y="136"/>
                    <a:pt x="363" y="133"/>
                    <a:pt x="361" y="132"/>
                  </a:cubicBezTo>
                  <a:cubicBezTo>
                    <a:pt x="357" y="129"/>
                    <a:pt x="330" y="109"/>
                    <a:pt x="199" y="2"/>
                  </a:cubicBezTo>
                  <a:cubicBezTo>
                    <a:pt x="197" y="0"/>
                    <a:pt x="194" y="0"/>
                    <a:pt x="192" y="1"/>
                  </a:cubicBezTo>
                  <a:cubicBezTo>
                    <a:pt x="189" y="1"/>
                    <a:pt x="187" y="3"/>
                    <a:pt x="185" y="5"/>
                  </a:cubicBezTo>
                  <a:cubicBezTo>
                    <a:pt x="185" y="6"/>
                    <a:pt x="185" y="6"/>
                    <a:pt x="185" y="7"/>
                  </a:cubicBezTo>
                  <a:cubicBezTo>
                    <a:pt x="86" y="83"/>
                    <a:pt x="62" y="109"/>
                    <a:pt x="32" y="141"/>
                  </a:cubicBezTo>
                  <a:cubicBezTo>
                    <a:pt x="24" y="150"/>
                    <a:pt x="15" y="159"/>
                    <a:pt x="3" y="171"/>
                  </a:cubicBezTo>
                  <a:cubicBezTo>
                    <a:pt x="1" y="173"/>
                    <a:pt x="0" y="176"/>
                    <a:pt x="1" y="179"/>
                  </a:cubicBezTo>
                  <a:cubicBezTo>
                    <a:pt x="2" y="181"/>
                    <a:pt x="4" y="184"/>
                    <a:pt x="7" y="184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2" name="Freeform 569">
              <a:extLst>
                <a:ext uri="{FF2B5EF4-FFF2-40B4-BE49-F238E27FC236}">
                  <a16:creationId xmlns:a16="http://schemas.microsoft.com/office/drawing/2014/main" id="{375BF6FE-6E44-3EA2-DF75-D7BB817151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4363" y="6227763"/>
              <a:ext cx="676275" cy="100013"/>
            </a:xfrm>
            <a:custGeom>
              <a:avLst/>
              <a:gdLst>
                <a:gd name="T0" fmla="*/ 29 w 909"/>
                <a:gd name="T1" fmla="*/ 23 h 135"/>
                <a:gd name="T2" fmla="*/ 22 w 909"/>
                <a:gd name="T3" fmla="*/ 89 h 135"/>
                <a:gd name="T4" fmla="*/ 186 w 909"/>
                <a:gd name="T5" fmla="*/ 117 h 135"/>
                <a:gd name="T6" fmla="*/ 259 w 909"/>
                <a:gd name="T7" fmla="*/ 112 h 135"/>
                <a:gd name="T8" fmla="*/ 374 w 909"/>
                <a:gd name="T9" fmla="*/ 102 h 135"/>
                <a:gd name="T10" fmla="*/ 383 w 909"/>
                <a:gd name="T11" fmla="*/ 102 h 135"/>
                <a:gd name="T12" fmla="*/ 534 w 909"/>
                <a:gd name="T13" fmla="*/ 113 h 135"/>
                <a:gd name="T14" fmla="*/ 564 w 909"/>
                <a:gd name="T15" fmla="*/ 117 h 135"/>
                <a:gd name="T16" fmla="*/ 623 w 909"/>
                <a:gd name="T17" fmla="*/ 118 h 135"/>
                <a:gd name="T18" fmla="*/ 885 w 909"/>
                <a:gd name="T19" fmla="*/ 53 h 135"/>
                <a:gd name="T20" fmla="*/ 888 w 909"/>
                <a:gd name="T21" fmla="*/ 39 h 135"/>
                <a:gd name="T22" fmla="*/ 692 w 909"/>
                <a:gd name="T23" fmla="*/ 86 h 135"/>
                <a:gd name="T24" fmla="*/ 661 w 909"/>
                <a:gd name="T25" fmla="*/ 85 h 135"/>
                <a:gd name="T26" fmla="*/ 371 w 909"/>
                <a:gd name="T27" fmla="*/ 52 h 135"/>
                <a:gd name="T28" fmla="*/ 262 w 909"/>
                <a:gd name="T29" fmla="*/ 36 h 135"/>
                <a:gd name="T30" fmla="*/ 210 w 909"/>
                <a:gd name="T31" fmla="*/ 34 h 135"/>
                <a:gd name="T32" fmla="*/ 156 w 909"/>
                <a:gd name="T33" fmla="*/ 35 h 135"/>
                <a:gd name="T34" fmla="*/ 108 w 909"/>
                <a:gd name="T35" fmla="*/ 35 h 135"/>
                <a:gd name="T36" fmla="*/ 29 w 909"/>
                <a:gd name="T37" fmla="*/ 23 h 135"/>
                <a:gd name="T38" fmla="*/ 186 w 909"/>
                <a:gd name="T39" fmla="*/ 134 h 135"/>
                <a:gd name="T40" fmla="*/ 6 w 909"/>
                <a:gd name="T41" fmla="*/ 93 h 135"/>
                <a:gd name="T42" fmla="*/ 27 w 909"/>
                <a:gd name="T43" fmla="*/ 3 h 135"/>
                <a:gd name="T44" fmla="*/ 35 w 909"/>
                <a:gd name="T45" fmla="*/ 0 h 135"/>
                <a:gd name="T46" fmla="*/ 38 w 909"/>
                <a:gd name="T47" fmla="*/ 8 h 135"/>
                <a:gd name="T48" fmla="*/ 108 w 909"/>
                <a:gd name="T49" fmla="*/ 19 h 135"/>
                <a:gd name="T50" fmla="*/ 156 w 909"/>
                <a:gd name="T51" fmla="*/ 18 h 135"/>
                <a:gd name="T52" fmla="*/ 210 w 909"/>
                <a:gd name="T53" fmla="*/ 17 h 135"/>
                <a:gd name="T54" fmla="*/ 264 w 909"/>
                <a:gd name="T55" fmla="*/ 19 h 135"/>
                <a:gd name="T56" fmla="*/ 374 w 909"/>
                <a:gd name="T57" fmla="*/ 35 h 135"/>
                <a:gd name="T58" fmla="*/ 662 w 909"/>
                <a:gd name="T59" fmla="*/ 69 h 135"/>
                <a:gd name="T60" fmla="*/ 692 w 909"/>
                <a:gd name="T61" fmla="*/ 69 h 135"/>
                <a:gd name="T62" fmla="*/ 884 w 909"/>
                <a:gd name="T63" fmla="*/ 22 h 135"/>
                <a:gd name="T64" fmla="*/ 887 w 909"/>
                <a:gd name="T65" fmla="*/ 19 h 135"/>
                <a:gd name="T66" fmla="*/ 890 w 909"/>
                <a:gd name="T67" fmla="*/ 20 h 135"/>
                <a:gd name="T68" fmla="*/ 902 w 909"/>
                <a:gd name="T69" fmla="*/ 27 h 135"/>
                <a:gd name="T70" fmla="*/ 900 w 909"/>
                <a:gd name="T71" fmla="*/ 60 h 135"/>
                <a:gd name="T72" fmla="*/ 623 w 909"/>
                <a:gd name="T73" fmla="*/ 135 h 135"/>
                <a:gd name="T74" fmla="*/ 563 w 909"/>
                <a:gd name="T75" fmla="*/ 133 h 135"/>
                <a:gd name="T76" fmla="*/ 532 w 909"/>
                <a:gd name="T77" fmla="*/ 130 h 135"/>
                <a:gd name="T78" fmla="*/ 383 w 909"/>
                <a:gd name="T79" fmla="*/ 119 h 135"/>
                <a:gd name="T80" fmla="*/ 374 w 909"/>
                <a:gd name="T81" fmla="*/ 119 h 135"/>
                <a:gd name="T82" fmla="*/ 261 w 909"/>
                <a:gd name="T83" fmla="*/ 128 h 135"/>
                <a:gd name="T84" fmla="*/ 186 w 909"/>
                <a:gd name="T85" fmla="*/ 13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9" h="135">
                  <a:moveTo>
                    <a:pt x="29" y="23"/>
                  </a:moveTo>
                  <a:cubicBezTo>
                    <a:pt x="21" y="35"/>
                    <a:pt x="16" y="66"/>
                    <a:pt x="22" y="89"/>
                  </a:cubicBezTo>
                  <a:cubicBezTo>
                    <a:pt x="26" y="103"/>
                    <a:pt x="71" y="117"/>
                    <a:pt x="186" y="117"/>
                  </a:cubicBezTo>
                  <a:cubicBezTo>
                    <a:pt x="211" y="117"/>
                    <a:pt x="233" y="116"/>
                    <a:pt x="259" y="112"/>
                  </a:cubicBezTo>
                  <a:cubicBezTo>
                    <a:pt x="290" y="108"/>
                    <a:pt x="325" y="103"/>
                    <a:pt x="374" y="102"/>
                  </a:cubicBezTo>
                  <a:lnTo>
                    <a:pt x="383" y="102"/>
                  </a:lnTo>
                  <a:cubicBezTo>
                    <a:pt x="436" y="102"/>
                    <a:pt x="497" y="109"/>
                    <a:pt x="534" y="113"/>
                  </a:cubicBezTo>
                  <a:cubicBezTo>
                    <a:pt x="547" y="115"/>
                    <a:pt x="558" y="116"/>
                    <a:pt x="564" y="117"/>
                  </a:cubicBezTo>
                  <a:cubicBezTo>
                    <a:pt x="569" y="117"/>
                    <a:pt x="591" y="118"/>
                    <a:pt x="623" y="118"/>
                  </a:cubicBezTo>
                  <a:cubicBezTo>
                    <a:pt x="772" y="118"/>
                    <a:pt x="868" y="95"/>
                    <a:pt x="885" y="53"/>
                  </a:cubicBezTo>
                  <a:cubicBezTo>
                    <a:pt x="887" y="48"/>
                    <a:pt x="888" y="43"/>
                    <a:pt x="888" y="39"/>
                  </a:cubicBezTo>
                  <a:cubicBezTo>
                    <a:pt x="845" y="70"/>
                    <a:pt x="779" y="86"/>
                    <a:pt x="692" y="86"/>
                  </a:cubicBezTo>
                  <a:cubicBezTo>
                    <a:pt x="682" y="86"/>
                    <a:pt x="672" y="86"/>
                    <a:pt x="661" y="85"/>
                  </a:cubicBezTo>
                  <a:cubicBezTo>
                    <a:pt x="538" y="81"/>
                    <a:pt x="445" y="64"/>
                    <a:pt x="371" y="52"/>
                  </a:cubicBezTo>
                  <a:cubicBezTo>
                    <a:pt x="330" y="44"/>
                    <a:pt x="294" y="38"/>
                    <a:pt x="262" y="36"/>
                  </a:cubicBezTo>
                  <a:cubicBezTo>
                    <a:pt x="248" y="34"/>
                    <a:pt x="231" y="34"/>
                    <a:pt x="210" y="34"/>
                  </a:cubicBezTo>
                  <a:cubicBezTo>
                    <a:pt x="192" y="34"/>
                    <a:pt x="174" y="34"/>
                    <a:pt x="156" y="35"/>
                  </a:cubicBezTo>
                  <a:cubicBezTo>
                    <a:pt x="140" y="35"/>
                    <a:pt x="123" y="35"/>
                    <a:pt x="108" y="35"/>
                  </a:cubicBezTo>
                  <a:cubicBezTo>
                    <a:pt x="69" y="35"/>
                    <a:pt x="42" y="33"/>
                    <a:pt x="29" y="23"/>
                  </a:cubicBezTo>
                  <a:close/>
                  <a:moveTo>
                    <a:pt x="186" y="134"/>
                  </a:moveTo>
                  <a:cubicBezTo>
                    <a:pt x="17" y="134"/>
                    <a:pt x="9" y="103"/>
                    <a:pt x="6" y="93"/>
                  </a:cubicBezTo>
                  <a:cubicBezTo>
                    <a:pt x="0" y="67"/>
                    <a:pt x="3" y="14"/>
                    <a:pt x="27" y="3"/>
                  </a:cubicBezTo>
                  <a:lnTo>
                    <a:pt x="35" y="0"/>
                  </a:lnTo>
                  <a:lnTo>
                    <a:pt x="38" y="8"/>
                  </a:lnTo>
                  <a:cubicBezTo>
                    <a:pt x="39" y="11"/>
                    <a:pt x="48" y="19"/>
                    <a:pt x="108" y="19"/>
                  </a:cubicBezTo>
                  <a:cubicBezTo>
                    <a:pt x="123" y="19"/>
                    <a:pt x="139" y="18"/>
                    <a:pt x="156" y="18"/>
                  </a:cubicBezTo>
                  <a:cubicBezTo>
                    <a:pt x="174" y="18"/>
                    <a:pt x="192" y="17"/>
                    <a:pt x="210" y="17"/>
                  </a:cubicBezTo>
                  <a:cubicBezTo>
                    <a:pt x="231" y="17"/>
                    <a:pt x="249" y="18"/>
                    <a:pt x="264" y="19"/>
                  </a:cubicBezTo>
                  <a:cubicBezTo>
                    <a:pt x="296" y="22"/>
                    <a:pt x="332" y="28"/>
                    <a:pt x="374" y="35"/>
                  </a:cubicBezTo>
                  <a:cubicBezTo>
                    <a:pt x="448" y="48"/>
                    <a:pt x="540" y="64"/>
                    <a:pt x="662" y="69"/>
                  </a:cubicBezTo>
                  <a:cubicBezTo>
                    <a:pt x="672" y="69"/>
                    <a:pt x="682" y="69"/>
                    <a:pt x="692" y="69"/>
                  </a:cubicBezTo>
                  <a:cubicBezTo>
                    <a:pt x="780" y="69"/>
                    <a:pt x="844" y="53"/>
                    <a:pt x="884" y="22"/>
                  </a:cubicBezTo>
                  <a:lnTo>
                    <a:pt x="887" y="19"/>
                  </a:lnTo>
                  <a:lnTo>
                    <a:pt x="890" y="20"/>
                  </a:lnTo>
                  <a:cubicBezTo>
                    <a:pt x="895" y="20"/>
                    <a:pt x="899" y="23"/>
                    <a:pt x="902" y="27"/>
                  </a:cubicBezTo>
                  <a:cubicBezTo>
                    <a:pt x="909" y="38"/>
                    <a:pt x="902" y="55"/>
                    <a:pt x="900" y="60"/>
                  </a:cubicBezTo>
                  <a:cubicBezTo>
                    <a:pt x="873" y="125"/>
                    <a:pt x="715" y="135"/>
                    <a:pt x="623" y="135"/>
                  </a:cubicBezTo>
                  <a:cubicBezTo>
                    <a:pt x="591" y="135"/>
                    <a:pt x="569" y="134"/>
                    <a:pt x="563" y="133"/>
                  </a:cubicBezTo>
                  <a:cubicBezTo>
                    <a:pt x="557" y="133"/>
                    <a:pt x="546" y="132"/>
                    <a:pt x="532" y="130"/>
                  </a:cubicBezTo>
                  <a:cubicBezTo>
                    <a:pt x="496" y="126"/>
                    <a:pt x="435" y="119"/>
                    <a:pt x="383" y="119"/>
                  </a:cubicBezTo>
                  <a:lnTo>
                    <a:pt x="374" y="119"/>
                  </a:lnTo>
                  <a:cubicBezTo>
                    <a:pt x="326" y="119"/>
                    <a:pt x="292" y="124"/>
                    <a:pt x="261" y="128"/>
                  </a:cubicBezTo>
                  <a:cubicBezTo>
                    <a:pt x="235" y="132"/>
                    <a:pt x="212" y="134"/>
                    <a:pt x="186" y="134"/>
                  </a:cubicBezTo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3" name="Rectangle 570">
              <a:extLst>
                <a:ext uri="{FF2B5EF4-FFF2-40B4-BE49-F238E27FC236}">
                  <a16:creationId xmlns:a16="http://schemas.microsoft.com/office/drawing/2014/main" id="{39762736-1464-6024-47C5-484A7FF685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30563" y="6265863"/>
              <a:ext cx="12700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4" name="Rectangle 571">
              <a:extLst>
                <a:ext uri="{FF2B5EF4-FFF2-40B4-BE49-F238E27FC236}">
                  <a16:creationId xmlns:a16="http://schemas.microsoft.com/office/drawing/2014/main" id="{65BABF90-E3B5-3406-73C5-E2F86E764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5963" y="6265863"/>
              <a:ext cx="12700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5" name="Rectangle 572">
              <a:extLst>
                <a:ext uri="{FF2B5EF4-FFF2-40B4-BE49-F238E27FC236}">
                  <a16:creationId xmlns:a16="http://schemas.microsoft.com/office/drawing/2014/main" id="{1FAD7FD6-CCC7-5FCC-3B6E-E5C1D24DB5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1363" y="6265863"/>
              <a:ext cx="12700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6" name="Freeform 573">
              <a:extLst>
                <a:ext uri="{FF2B5EF4-FFF2-40B4-BE49-F238E27FC236}">
                  <a16:creationId xmlns:a16="http://schemas.microsoft.com/office/drawing/2014/main" id="{5F420503-C141-0A74-A92B-473470871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7388" y="5807075"/>
              <a:ext cx="231775" cy="58738"/>
            </a:xfrm>
            <a:custGeom>
              <a:avLst/>
              <a:gdLst>
                <a:gd name="T0" fmla="*/ 304 w 313"/>
                <a:gd name="T1" fmla="*/ 78 h 79"/>
                <a:gd name="T2" fmla="*/ 298 w 313"/>
                <a:gd name="T3" fmla="*/ 75 h 79"/>
                <a:gd name="T4" fmla="*/ 156 w 313"/>
                <a:gd name="T5" fmla="*/ 17 h 79"/>
                <a:gd name="T6" fmla="*/ 15 w 313"/>
                <a:gd name="T7" fmla="*/ 75 h 79"/>
                <a:gd name="T8" fmla="*/ 3 w 313"/>
                <a:gd name="T9" fmla="*/ 75 h 79"/>
                <a:gd name="T10" fmla="*/ 3 w 313"/>
                <a:gd name="T11" fmla="*/ 63 h 79"/>
                <a:gd name="T12" fmla="*/ 156 w 313"/>
                <a:gd name="T13" fmla="*/ 0 h 79"/>
                <a:gd name="T14" fmla="*/ 156 w 313"/>
                <a:gd name="T15" fmla="*/ 0 h 79"/>
                <a:gd name="T16" fmla="*/ 310 w 313"/>
                <a:gd name="T17" fmla="*/ 63 h 79"/>
                <a:gd name="T18" fmla="*/ 310 w 313"/>
                <a:gd name="T19" fmla="*/ 75 h 79"/>
                <a:gd name="T20" fmla="*/ 304 w 313"/>
                <a:gd name="T21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3" h="79">
                  <a:moveTo>
                    <a:pt x="304" y="78"/>
                  </a:moveTo>
                  <a:cubicBezTo>
                    <a:pt x="302" y="78"/>
                    <a:pt x="299" y="77"/>
                    <a:pt x="298" y="75"/>
                  </a:cubicBezTo>
                  <a:cubicBezTo>
                    <a:pt x="260" y="37"/>
                    <a:pt x="210" y="17"/>
                    <a:pt x="156" y="17"/>
                  </a:cubicBezTo>
                  <a:cubicBezTo>
                    <a:pt x="103" y="17"/>
                    <a:pt x="53" y="37"/>
                    <a:pt x="15" y="75"/>
                  </a:cubicBezTo>
                  <a:cubicBezTo>
                    <a:pt x="12" y="79"/>
                    <a:pt x="6" y="79"/>
                    <a:pt x="3" y="75"/>
                  </a:cubicBezTo>
                  <a:cubicBezTo>
                    <a:pt x="0" y="72"/>
                    <a:pt x="0" y="67"/>
                    <a:pt x="3" y="63"/>
                  </a:cubicBezTo>
                  <a:cubicBezTo>
                    <a:pt x="44" y="23"/>
                    <a:pt x="98" y="0"/>
                    <a:pt x="156" y="0"/>
                  </a:cubicBezTo>
                  <a:lnTo>
                    <a:pt x="156" y="0"/>
                  </a:lnTo>
                  <a:cubicBezTo>
                    <a:pt x="214" y="0"/>
                    <a:pt x="269" y="23"/>
                    <a:pt x="310" y="63"/>
                  </a:cubicBezTo>
                  <a:cubicBezTo>
                    <a:pt x="313" y="67"/>
                    <a:pt x="313" y="72"/>
                    <a:pt x="310" y="75"/>
                  </a:cubicBezTo>
                  <a:cubicBezTo>
                    <a:pt x="308" y="77"/>
                    <a:pt x="306" y="78"/>
                    <a:pt x="304" y="7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7" name="Freeform 574">
              <a:extLst>
                <a:ext uri="{FF2B5EF4-FFF2-40B4-BE49-F238E27FC236}">
                  <a16:creationId xmlns:a16="http://schemas.microsoft.com/office/drawing/2014/main" id="{1856C186-9049-97F8-AF55-73C6353686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2788" y="5843588"/>
              <a:ext cx="179388" cy="47625"/>
            </a:xfrm>
            <a:custGeom>
              <a:avLst/>
              <a:gdLst>
                <a:gd name="T0" fmla="*/ 233 w 242"/>
                <a:gd name="T1" fmla="*/ 63 h 64"/>
                <a:gd name="T2" fmla="*/ 227 w 242"/>
                <a:gd name="T3" fmla="*/ 61 h 64"/>
                <a:gd name="T4" fmla="*/ 121 w 242"/>
                <a:gd name="T5" fmla="*/ 17 h 64"/>
                <a:gd name="T6" fmla="*/ 121 w 242"/>
                <a:gd name="T7" fmla="*/ 17 h 64"/>
                <a:gd name="T8" fmla="*/ 15 w 242"/>
                <a:gd name="T9" fmla="*/ 61 h 64"/>
                <a:gd name="T10" fmla="*/ 3 w 242"/>
                <a:gd name="T11" fmla="*/ 61 h 64"/>
                <a:gd name="T12" fmla="*/ 3 w 242"/>
                <a:gd name="T13" fmla="*/ 49 h 64"/>
                <a:gd name="T14" fmla="*/ 121 w 242"/>
                <a:gd name="T15" fmla="*/ 0 h 64"/>
                <a:gd name="T16" fmla="*/ 121 w 242"/>
                <a:gd name="T17" fmla="*/ 0 h 64"/>
                <a:gd name="T18" fmla="*/ 239 w 242"/>
                <a:gd name="T19" fmla="*/ 49 h 64"/>
                <a:gd name="T20" fmla="*/ 239 w 242"/>
                <a:gd name="T21" fmla="*/ 61 h 64"/>
                <a:gd name="T22" fmla="*/ 233 w 242"/>
                <a:gd name="T23" fmla="*/ 63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2" h="64">
                  <a:moveTo>
                    <a:pt x="233" y="63"/>
                  </a:moveTo>
                  <a:cubicBezTo>
                    <a:pt x="231" y="63"/>
                    <a:pt x="229" y="62"/>
                    <a:pt x="227" y="61"/>
                  </a:cubicBezTo>
                  <a:cubicBezTo>
                    <a:pt x="199" y="32"/>
                    <a:pt x="161" y="17"/>
                    <a:pt x="121" y="17"/>
                  </a:cubicBezTo>
                  <a:lnTo>
                    <a:pt x="121" y="17"/>
                  </a:lnTo>
                  <a:cubicBezTo>
                    <a:pt x="81" y="17"/>
                    <a:pt x="44" y="32"/>
                    <a:pt x="15" y="61"/>
                  </a:cubicBezTo>
                  <a:cubicBezTo>
                    <a:pt x="12" y="64"/>
                    <a:pt x="7" y="64"/>
                    <a:pt x="3" y="61"/>
                  </a:cubicBezTo>
                  <a:cubicBezTo>
                    <a:pt x="0" y="57"/>
                    <a:pt x="0" y="52"/>
                    <a:pt x="3" y="49"/>
                  </a:cubicBezTo>
                  <a:cubicBezTo>
                    <a:pt x="35" y="17"/>
                    <a:pt x="77" y="0"/>
                    <a:pt x="121" y="0"/>
                  </a:cubicBezTo>
                  <a:lnTo>
                    <a:pt x="121" y="0"/>
                  </a:lnTo>
                  <a:cubicBezTo>
                    <a:pt x="166" y="0"/>
                    <a:pt x="208" y="17"/>
                    <a:pt x="239" y="49"/>
                  </a:cubicBezTo>
                  <a:cubicBezTo>
                    <a:pt x="242" y="52"/>
                    <a:pt x="242" y="57"/>
                    <a:pt x="239" y="61"/>
                  </a:cubicBezTo>
                  <a:cubicBezTo>
                    <a:pt x="238" y="62"/>
                    <a:pt x="235" y="63"/>
                    <a:pt x="233" y="6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8" name="Freeform 575">
              <a:extLst>
                <a:ext uri="{FF2B5EF4-FFF2-40B4-BE49-F238E27FC236}">
                  <a16:creationId xmlns:a16="http://schemas.microsoft.com/office/drawing/2014/main" id="{69105F82-626D-0AAC-B337-B1EB65359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776" y="5881688"/>
              <a:ext cx="127000" cy="36513"/>
            </a:xfrm>
            <a:custGeom>
              <a:avLst/>
              <a:gdLst>
                <a:gd name="T0" fmla="*/ 162 w 171"/>
                <a:gd name="T1" fmla="*/ 48 h 49"/>
                <a:gd name="T2" fmla="*/ 156 w 171"/>
                <a:gd name="T3" fmla="*/ 46 h 49"/>
                <a:gd name="T4" fmla="*/ 85 w 171"/>
                <a:gd name="T5" fmla="*/ 17 h 49"/>
                <a:gd name="T6" fmla="*/ 85 w 171"/>
                <a:gd name="T7" fmla="*/ 17 h 49"/>
                <a:gd name="T8" fmla="*/ 15 w 171"/>
                <a:gd name="T9" fmla="*/ 46 h 49"/>
                <a:gd name="T10" fmla="*/ 3 w 171"/>
                <a:gd name="T11" fmla="*/ 46 h 49"/>
                <a:gd name="T12" fmla="*/ 3 w 171"/>
                <a:gd name="T13" fmla="*/ 34 h 49"/>
                <a:gd name="T14" fmla="*/ 85 w 171"/>
                <a:gd name="T15" fmla="*/ 0 h 49"/>
                <a:gd name="T16" fmla="*/ 85 w 171"/>
                <a:gd name="T17" fmla="*/ 0 h 49"/>
                <a:gd name="T18" fmla="*/ 168 w 171"/>
                <a:gd name="T19" fmla="*/ 34 h 49"/>
                <a:gd name="T20" fmla="*/ 168 w 171"/>
                <a:gd name="T21" fmla="*/ 46 h 49"/>
                <a:gd name="T22" fmla="*/ 162 w 171"/>
                <a:gd name="T2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1" h="49">
                  <a:moveTo>
                    <a:pt x="162" y="48"/>
                  </a:moveTo>
                  <a:cubicBezTo>
                    <a:pt x="160" y="48"/>
                    <a:pt x="158" y="48"/>
                    <a:pt x="156" y="46"/>
                  </a:cubicBezTo>
                  <a:cubicBezTo>
                    <a:pt x="137" y="27"/>
                    <a:pt x="112" y="17"/>
                    <a:pt x="85" y="17"/>
                  </a:cubicBezTo>
                  <a:lnTo>
                    <a:pt x="85" y="17"/>
                  </a:lnTo>
                  <a:cubicBezTo>
                    <a:pt x="59" y="17"/>
                    <a:pt x="34" y="27"/>
                    <a:pt x="15" y="46"/>
                  </a:cubicBezTo>
                  <a:cubicBezTo>
                    <a:pt x="11" y="49"/>
                    <a:pt x="6" y="49"/>
                    <a:pt x="3" y="46"/>
                  </a:cubicBezTo>
                  <a:cubicBezTo>
                    <a:pt x="0" y="43"/>
                    <a:pt x="0" y="37"/>
                    <a:pt x="3" y="34"/>
                  </a:cubicBezTo>
                  <a:cubicBezTo>
                    <a:pt x="25" y="12"/>
                    <a:pt x="54" y="0"/>
                    <a:pt x="85" y="0"/>
                  </a:cubicBezTo>
                  <a:lnTo>
                    <a:pt x="85" y="0"/>
                  </a:lnTo>
                  <a:cubicBezTo>
                    <a:pt x="116" y="0"/>
                    <a:pt x="146" y="12"/>
                    <a:pt x="168" y="34"/>
                  </a:cubicBezTo>
                  <a:cubicBezTo>
                    <a:pt x="171" y="37"/>
                    <a:pt x="171" y="43"/>
                    <a:pt x="168" y="46"/>
                  </a:cubicBezTo>
                  <a:cubicBezTo>
                    <a:pt x="166" y="48"/>
                    <a:pt x="164" y="48"/>
                    <a:pt x="162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29" name="Freeform 576">
              <a:extLst>
                <a:ext uri="{FF2B5EF4-FFF2-40B4-BE49-F238E27FC236}">
                  <a16:creationId xmlns:a16="http://schemas.microsoft.com/office/drawing/2014/main" id="{0A9A61E6-926C-D1CA-5402-9D89FB363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176" y="5913438"/>
              <a:ext cx="74613" cy="31750"/>
            </a:xfrm>
            <a:custGeom>
              <a:avLst/>
              <a:gdLst>
                <a:gd name="T0" fmla="*/ 92 w 101"/>
                <a:gd name="T1" fmla="*/ 40 h 41"/>
                <a:gd name="T2" fmla="*/ 86 w 101"/>
                <a:gd name="T3" fmla="*/ 37 h 41"/>
                <a:gd name="T4" fmla="*/ 15 w 101"/>
                <a:gd name="T5" fmla="*/ 37 h 41"/>
                <a:gd name="T6" fmla="*/ 3 w 101"/>
                <a:gd name="T7" fmla="*/ 37 h 41"/>
                <a:gd name="T8" fmla="*/ 3 w 101"/>
                <a:gd name="T9" fmla="*/ 26 h 41"/>
                <a:gd name="T10" fmla="*/ 97 w 101"/>
                <a:gd name="T11" fmla="*/ 26 h 41"/>
                <a:gd name="T12" fmla="*/ 97 w 101"/>
                <a:gd name="T13" fmla="*/ 37 h 41"/>
                <a:gd name="T14" fmla="*/ 92 w 101"/>
                <a:gd name="T15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" h="41">
                  <a:moveTo>
                    <a:pt x="92" y="40"/>
                  </a:moveTo>
                  <a:cubicBezTo>
                    <a:pt x="89" y="40"/>
                    <a:pt x="87" y="39"/>
                    <a:pt x="86" y="37"/>
                  </a:cubicBezTo>
                  <a:cubicBezTo>
                    <a:pt x="66" y="18"/>
                    <a:pt x="34" y="18"/>
                    <a:pt x="15" y="37"/>
                  </a:cubicBezTo>
                  <a:cubicBezTo>
                    <a:pt x="12" y="41"/>
                    <a:pt x="6" y="41"/>
                    <a:pt x="3" y="37"/>
                  </a:cubicBezTo>
                  <a:cubicBezTo>
                    <a:pt x="0" y="34"/>
                    <a:pt x="0" y="29"/>
                    <a:pt x="3" y="26"/>
                  </a:cubicBezTo>
                  <a:cubicBezTo>
                    <a:pt x="29" y="0"/>
                    <a:pt x="71" y="0"/>
                    <a:pt x="97" y="26"/>
                  </a:cubicBezTo>
                  <a:cubicBezTo>
                    <a:pt x="101" y="29"/>
                    <a:pt x="101" y="34"/>
                    <a:pt x="97" y="37"/>
                  </a:cubicBezTo>
                  <a:cubicBezTo>
                    <a:pt x="96" y="39"/>
                    <a:pt x="94" y="40"/>
                    <a:pt x="92" y="4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0" name="Freeform 577">
              <a:extLst>
                <a:ext uri="{FF2B5EF4-FFF2-40B4-BE49-F238E27FC236}">
                  <a16:creationId xmlns:a16="http://schemas.microsoft.com/office/drawing/2014/main" id="{B9E52D56-0862-E421-B44A-617EF7DF2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0576" y="5956300"/>
              <a:ext cx="25400" cy="12700"/>
            </a:xfrm>
            <a:custGeom>
              <a:avLst/>
              <a:gdLst>
                <a:gd name="T0" fmla="*/ 33 w 33"/>
                <a:gd name="T1" fmla="*/ 8 h 17"/>
                <a:gd name="T2" fmla="*/ 25 w 33"/>
                <a:gd name="T3" fmla="*/ 17 h 17"/>
                <a:gd name="T4" fmla="*/ 8 w 33"/>
                <a:gd name="T5" fmla="*/ 17 h 17"/>
                <a:gd name="T6" fmla="*/ 0 w 33"/>
                <a:gd name="T7" fmla="*/ 8 h 17"/>
                <a:gd name="T8" fmla="*/ 0 w 33"/>
                <a:gd name="T9" fmla="*/ 8 h 17"/>
                <a:gd name="T10" fmla="*/ 8 w 33"/>
                <a:gd name="T11" fmla="*/ 0 h 17"/>
                <a:gd name="T12" fmla="*/ 25 w 33"/>
                <a:gd name="T13" fmla="*/ 0 h 17"/>
                <a:gd name="T14" fmla="*/ 33 w 33"/>
                <a:gd name="T15" fmla="*/ 8 h 17"/>
                <a:gd name="T16" fmla="*/ 33 w 33"/>
                <a:gd name="T17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7">
                  <a:moveTo>
                    <a:pt x="33" y="8"/>
                  </a:moveTo>
                  <a:cubicBezTo>
                    <a:pt x="33" y="13"/>
                    <a:pt x="29" y="17"/>
                    <a:pt x="25" y="17"/>
                  </a:cubicBezTo>
                  <a:lnTo>
                    <a:pt x="8" y="17"/>
                  </a:lnTo>
                  <a:cubicBezTo>
                    <a:pt x="3" y="17"/>
                    <a:pt x="0" y="13"/>
                    <a:pt x="0" y="8"/>
                  </a:cubicBezTo>
                  <a:lnTo>
                    <a:pt x="0" y="8"/>
                  </a:lnTo>
                  <a:cubicBezTo>
                    <a:pt x="0" y="4"/>
                    <a:pt x="3" y="0"/>
                    <a:pt x="8" y="0"/>
                  </a:cubicBezTo>
                  <a:lnTo>
                    <a:pt x="25" y="0"/>
                  </a:lnTo>
                  <a:cubicBezTo>
                    <a:pt x="29" y="0"/>
                    <a:pt x="33" y="4"/>
                    <a:pt x="33" y="8"/>
                  </a:cubicBezTo>
                  <a:lnTo>
                    <a:pt x="33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31" name="Freeform 578">
              <a:extLst>
                <a:ext uri="{FF2B5EF4-FFF2-40B4-BE49-F238E27FC236}">
                  <a16:creationId xmlns:a16="http://schemas.microsoft.com/office/drawing/2014/main" id="{665D1C41-D286-79E8-48B9-7F0EA0442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7276" y="5813425"/>
              <a:ext cx="147638" cy="147638"/>
            </a:xfrm>
            <a:custGeom>
              <a:avLst/>
              <a:gdLst>
                <a:gd name="T0" fmla="*/ 100 w 200"/>
                <a:gd name="T1" fmla="*/ 17 h 200"/>
                <a:gd name="T2" fmla="*/ 17 w 200"/>
                <a:gd name="T3" fmla="*/ 100 h 200"/>
                <a:gd name="T4" fmla="*/ 100 w 200"/>
                <a:gd name="T5" fmla="*/ 184 h 200"/>
                <a:gd name="T6" fmla="*/ 183 w 200"/>
                <a:gd name="T7" fmla="*/ 100 h 200"/>
                <a:gd name="T8" fmla="*/ 100 w 200"/>
                <a:gd name="T9" fmla="*/ 17 h 200"/>
                <a:gd name="T10" fmla="*/ 100 w 200"/>
                <a:gd name="T11" fmla="*/ 200 h 200"/>
                <a:gd name="T12" fmla="*/ 0 w 200"/>
                <a:gd name="T13" fmla="*/ 100 h 200"/>
                <a:gd name="T14" fmla="*/ 100 w 200"/>
                <a:gd name="T15" fmla="*/ 0 h 200"/>
                <a:gd name="T16" fmla="*/ 200 w 200"/>
                <a:gd name="T17" fmla="*/ 100 h 200"/>
                <a:gd name="T18" fmla="*/ 100 w 200"/>
                <a:gd name="T19" fmla="*/ 20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0" h="200">
                  <a:moveTo>
                    <a:pt x="100" y="17"/>
                  </a:moveTo>
                  <a:cubicBezTo>
                    <a:pt x="54" y="17"/>
                    <a:pt x="17" y="54"/>
                    <a:pt x="17" y="100"/>
                  </a:cubicBezTo>
                  <a:cubicBezTo>
                    <a:pt x="17" y="146"/>
                    <a:pt x="54" y="184"/>
                    <a:pt x="100" y="184"/>
                  </a:cubicBezTo>
                  <a:cubicBezTo>
                    <a:pt x="146" y="184"/>
                    <a:pt x="183" y="146"/>
                    <a:pt x="183" y="100"/>
                  </a:cubicBezTo>
                  <a:cubicBezTo>
                    <a:pt x="183" y="54"/>
                    <a:pt x="146" y="17"/>
                    <a:pt x="100" y="17"/>
                  </a:cubicBezTo>
                  <a:close/>
                  <a:moveTo>
                    <a:pt x="100" y="200"/>
                  </a:moveTo>
                  <a:cubicBezTo>
                    <a:pt x="45" y="200"/>
                    <a:pt x="0" y="155"/>
                    <a:pt x="0" y="100"/>
                  </a:cubicBezTo>
                  <a:cubicBezTo>
                    <a:pt x="0" y="45"/>
                    <a:pt x="45" y="0"/>
                    <a:pt x="100" y="0"/>
                  </a:cubicBezTo>
                  <a:cubicBezTo>
                    <a:pt x="155" y="0"/>
                    <a:pt x="200" y="45"/>
                    <a:pt x="200" y="100"/>
                  </a:cubicBezTo>
                  <a:cubicBezTo>
                    <a:pt x="200" y="155"/>
                    <a:pt x="155" y="200"/>
                    <a:pt x="100" y="2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24" name="Freeform 579">
              <a:extLst>
                <a:ext uri="{FF2B5EF4-FFF2-40B4-BE49-F238E27FC236}">
                  <a16:creationId xmlns:a16="http://schemas.microsoft.com/office/drawing/2014/main" id="{AA1729E5-2C45-0D3B-4252-6DB064D372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13101" y="6122988"/>
              <a:ext cx="98425" cy="100013"/>
            </a:xfrm>
            <a:custGeom>
              <a:avLst/>
              <a:gdLst>
                <a:gd name="T0" fmla="*/ 67 w 134"/>
                <a:gd name="T1" fmla="*/ 17 h 133"/>
                <a:gd name="T2" fmla="*/ 17 w 134"/>
                <a:gd name="T3" fmla="*/ 67 h 133"/>
                <a:gd name="T4" fmla="*/ 67 w 134"/>
                <a:gd name="T5" fmla="*/ 117 h 133"/>
                <a:gd name="T6" fmla="*/ 117 w 134"/>
                <a:gd name="T7" fmla="*/ 67 h 133"/>
                <a:gd name="T8" fmla="*/ 67 w 134"/>
                <a:gd name="T9" fmla="*/ 17 h 133"/>
                <a:gd name="T10" fmla="*/ 67 w 134"/>
                <a:gd name="T11" fmla="*/ 133 h 133"/>
                <a:gd name="T12" fmla="*/ 0 w 134"/>
                <a:gd name="T13" fmla="*/ 67 h 133"/>
                <a:gd name="T14" fmla="*/ 67 w 134"/>
                <a:gd name="T15" fmla="*/ 0 h 133"/>
                <a:gd name="T16" fmla="*/ 134 w 134"/>
                <a:gd name="T17" fmla="*/ 67 h 133"/>
                <a:gd name="T18" fmla="*/ 67 w 134"/>
                <a:gd name="T1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3">
                  <a:moveTo>
                    <a:pt x="67" y="17"/>
                  </a:moveTo>
                  <a:cubicBezTo>
                    <a:pt x="39" y="17"/>
                    <a:pt x="17" y="39"/>
                    <a:pt x="17" y="67"/>
                  </a:cubicBezTo>
                  <a:cubicBezTo>
                    <a:pt x="17" y="94"/>
                    <a:pt x="39" y="117"/>
                    <a:pt x="67" y="117"/>
                  </a:cubicBezTo>
                  <a:cubicBezTo>
                    <a:pt x="95" y="117"/>
                    <a:pt x="117" y="94"/>
                    <a:pt x="117" y="67"/>
                  </a:cubicBezTo>
                  <a:cubicBezTo>
                    <a:pt x="117" y="39"/>
                    <a:pt x="95" y="17"/>
                    <a:pt x="67" y="17"/>
                  </a:cubicBezTo>
                  <a:close/>
                  <a:moveTo>
                    <a:pt x="67" y="133"/>
                  </a:moveTo>
                  <a:cubicBezTo>
                    <a:pt x="30" y="133"/>
                    <a:pt x="0" y="103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3"/>
                    <a:pt x="104" y="133"/>
                    <a:pt x="67" y="133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25" name="Rectangle 580">
              <a:extLst>
                <a:ext uri="{FF2B5EF4-FFF2-40B4-BE49-F238E27FC236}">
                  <a16:creationId xmlns:a16="http://schemas.microsoft.com/office/drawing/2014/main" id="{A1015BCE-EADA-FC47-1E2B-11B3E080E0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6054725"/>
              <a:ext cx="233363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27" name="Rectangle 581">
              <a:extLst>
                <a:ext uri="{FF2B5EF4-FFF2-40B4-BE49-F238E27FC236}">
                  <a16:creationId xmlns:a16="http://schemas.microsoft.com/office/drawing/2014/main" id="{C34D41D8-1151-39F1-188B-C5A93AFE69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5707063"/>
              <a:ext cx="233363" cy="127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29" name="Freeform 582">
              <a:extLst>
                <a:ext uri="{FF2B5EF4-FFF2-40B4-BE49-F238E27FC236}">
                  <a16:creationId xmlns:a16="http://schemas.microsoft.com/office/drawing/2014/main" id="{B657EBD6-C26F-52AC-3B6A-C02AB58C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1713" y="5657850"/>
              <a:ext cx="258763" cy="484188"/>
            </a:xfrm>
            <a:custGeom>
              <a:avLst/>
              <a:gdLst>
                <a:gd name="T0" fmla="*/ 317 w 350"/>
                <a:gd name="T1" fmla="*/ 0 h 650"/>
                <a:gd name="T2" fmla="*/ 33 w 350"/>
                <a:gd name="T3" fmla="*/ 0 h 650"/>
                <a:gd name="T4" fmla="*/ 0 w 350"/>
                <a:gd name="T5" fmla="*/ 33 h 650"/>
                <a:gd name="T6" fmla="*/ 0 w 350"/>
                <a:gd name="T7" fmla="*/ 538 h 650"/>
                <a:gd name="T8" fmla="*/ 2 w 350"/>
                <a:gd name="T9" fmla="*/ 539 h 650"/>
                <a:gd name="T10" fmla="*/ 8 w 350"/>
                <a:gd name="T11" fmla="*/ 550 h 650"/>
                <a:gd name="T12" fmla="*/ 17 w 350"/>
                <a:gd name="T13" fmla="*/ 550 h 650"/>
                <a:gd name="T14" fmla="*/ 17 w 350"/>
                <a:gd name="T15" fmla="*/ 33 h 650"/>
                <a:gd name="T16" fmla="*/ 33 w 350"/>
                <a:gd name="T17" fmla="*/ 17 h 650"/>
                <a:gd name="T18" fmla="*/ 317 w 350"/>
                <a:gd name="T19" fmla="*/ 17 h 650"/>
                <a:gd name="T20" fmla="*/ 333 w 350"/>
                <a:gd name="T21" fmla="*/ 33 h 650"/>
                <a:gd name="T22" fmla="*/ 333 w 350"/>
                <a:gd name="T23" fmla="*/ 617 h 650"/>
                <a:gd name="T24" fmla="*/ 317 w 350"/>
                <a:gd name="T25" fmla="*/ 633 h 650"/>
                <a:gd name="T26" fmla="*/ 105 w 350"/>
                <a:gd name="T27" fmla="*/ 633 h 650"/>
                <a:gd name="T28" fmla="*/ 106 w 350"/>
                <a:gd name="T29" fmla="*/ 636 h 650"/>
                <a:gd name="T30" fmla="*/ 107 w 350"/>
                <a:gd name="T31" fmla="*/ 637 h 650"/>
                <a:gd name="T32" fmla="*/ 129 w 350"/>
                <a:gd name="T33" fmla="*/ 641 h 650"/>
                <a:gd name="T34" fmla="*/ 136 w 350"/>
                <a:gd name="T35" fmla="*/ 650 h 650"/>
                <a:gd name="T36" fmla="*/ 317 w 350"/>
                <a:gd name="T37" fmla="*/ 650 h 650"/>
                <a:gd name="T38" fmla="*/ 350 w 350"/>
                <a:gd name="T39" fmla="*/ 617 h 650"/>
                <a:gd name="T40" fmla="*/ 350 w 350"/>
                <a:gd name="T41" fmla="*/ 33 h 650"/>
                <a:gd name="T42" fmla="*/ 317 w 350"/>
                <a:gd name="T43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50" h="650">
                  <a:moveTo>
                    <a:pt x="317" y="0"/>
                  </a:moveTo>
                  <a:lnTo>
                    <a:pt x="33" y="0"/>
                  </a:lnTo>
                  <a:cubicBezTo>
                    <a:pt x="15" y="0"/>
                    <a:pt x="0" y="15"/>
                    <a:pt x="0" y="33"/>
                  </a:cubicBezTo>
                  <a:lnTo>
                    <a:pt x="0" y="538"/>
                  </a:lnTo>
                  <a:cubicBezTo>
                    <a:pt x="1" y="538"/>
                    <a:pt x="1" y="539"/>
                    <a:pt x="2" y="539"/>
                  </a:cubicBezTo>
                  <a:cubicBezTo>
                    <a:pt x="5" y="542"/>
                    <a:pt x="7" y="546"/>
                    <a:pt x="8" y="550"/>
                  </a:cubicBezTo>
                  <a:lnTo>
                    <a:pt x="17" y="550"/>
                  </a:lnTo>
                  <a:lnTo>
                    <a:pt x="17" y="33"/>
                  </a:lnTo>
                  <a:cubicBezTo>
                    <a:pt x="17" y="24"/>
                    <a:pt x="24" y="17"/>
                    <a:pt x="33" y="17"/>
                  </a:cubicBezTo>
                  <a:lnTo>
                    <a:pt x="317" y="17"/>
                  </a:lnTo>
                  <a:cubicBezTo>
                    <a:pt x="326" y="17"/>
                    <a:pt x="333" y="24"/>
                    <a:pt x="333" y="33"/>
                  </a:cubicBezTo>
                  <a:lnTo>
                    <a:pt x="333" y="617"/>
                  </a:lnTo>
                  <a:cubicBezTo>
                    <a:pt x="333" y="626"/>
                    <a:pt x="326" y="633"/>
                    <a:pt x="317" y="633"/>
                  </a:cubicBezTo>
                  <a:lnTo>
                    <a:pt x="105" y="633"/>
                  </a:lnTo>
                  <a:cubicBezTo>
                    <a:pt x="106" y="634"/>
                    <a:pt x="106" y="635"/>
                    <a:pt x="106" y="636"/>
                  </a:cubicBezTo>
                  <a:lnTo>
                    <a:pt x="107" y="637"/>
                  </a:lnTo>
                  <a:cubicBezTo>
                    <a:pt x="114" y="635"/>
                    <a:pt x="123" y="637"/>
                    <a:pt x="129" y="641"/>
                  </a:cubicBezTo>
                  <a:cubicBezTo>
                    <a:pt x="132" y="644"/>
                    <a:pt x="134" y="647"/>
                    <a:pt x="136" y="650"/>
                  </a:cubicBezTo>
                  <a:lnTo>
                    <a:pt x="317" y="650"/>
                  </a:lnTo>
                  <a:cubicBezTo>
                    <a:pt x="335" y="650"/>
                    <a:pt x="350" y="635"/>
                    <a:pt x="350" y="617"/>
                  </a:cubicBezTo>
                  <a:lnTo>
                    <a:pt x="350" y="33"/>
                  </a:lnTo>
                  <a:cubicBezTo>
                    <a:pt x="350" y="15"/>
                    <a:pt x="335" y="0"/>
                    <a:pt x="3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sp>
        <p:nvSpPr>
          <p:cNvPr id="1030" name="Pencil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F668B90-0984-7571-C985-A7BD8652202D}"/>
              </a:ext>
            </a:extLst>
          </p:cNvPr>
          <p:cNvSpPr>
            <a:spLocks noChangeAspect="1"/>
          </p:cNvSpPr>
          <p:nvPr/>
        </p:nvSpPr>
        <p:spPr>
          <a:xfrm>
            <a:off x="7926908" y="1855455"/>
            <a:ext cx="1323009" cy="1349929"/>
          </a:xfrm>
          <a:custGeom>
            <a:avLst/>
            <a:gdLst>
              <a:gd name="connsiteX0" fmla="*/ 1866900 w 1866900"/>
              <a:gd name="connsiteY0" fmla="*/ 268114 h 1904889"/>
              <a:gd name="connsiteX1" fmla="*/ 1866900 w 1866900"/>
              <a:gd name="connsiteY1" fmla="*/ 287640 h 1904889"/>
              <a:gd name="connsiteX2" fmla="*/ 1820132 w 1866900"/>
              <a:gd name="connsiteY2" fmla="*/ 372127 h 1904889"/>
              <a:gd name="connsiteX3" fmla="*/ 670084 w 1866900"/>
              <a:gd name="connsiteY3" fmla="*/ 1526843 h 1904889"/>
              <a:gd name="connsiteX4" fmla="*/ 613982 w 1866900"/>
              <a:gd name="connsiteY4" fmla="*/ 1569610 h 1904889"/>
              <a:gd name="connsiteX5" fmla="*/ 30861 w 1866900"/>
              <a:gd name="connsiteY5" fmla="*/ 1904890 h 1904889"/>
              <a:gd name="connsiteX6" fmla="*/ 20003 w 1866900"/>
              <a:gd name="connsiteY6" fmla="*/ 1904890 h 1904889"/>
              <a:gd name="connsiteX7" fmla="*/ 0 w 1866900"/>
              <a:gd name="connsiteY7" fmla="*/ 1885649 h 1904889"/>
              <a:gd name="connsiteX8" fmla="*/ 0 w 1866900"/>
              <a:gd name="connsiteY8" fmla="*/ 1876220 h 1904889"/>
              <a:gd name="connsiteX9" fmla="*/ 165830 w 1866900"/>
              <a:gd name="connsiteY9" fmla="*/ 1532462 h 1904889"/>
              <a:gd name="connsiteX10" fmla="*/ 199549 w 1866900"/>
              <a:gd name="connsiteY10" fmla="*/ 1464073 h 1904889"/>
              <a:gd name="connsiteX11" fmla="*/ 300895 w 1866900"/>
              <a:gd name="connsiteY11" fmla="*/ 1254523 h 1904889"/>
              <a:gd name="connsiteX12" fmla="*/ 332613 w 1866900"/>
              <a:gd name="connsiteY12" fmla="*/ 1208898 h 1904889"/>
              <a:gd name="connsiteX13" fmla="*/ 1473232 w 1866900"/>
              <a:gd name="connsiteY13" fmla="*/ 60088 h 1904889"/>
              <a:gd name="connsiteX14" fmla="*/ 1544479 w 1866900"/>
              <a:gd name="connsiteY14" fmla="*/ 7510 h 1904889"/>
              <a:gd name="connsiteX15" fmla="*/ 1634490 w 1866900"/>
              <a:gd name="connsiteY15" fmla="*/ 10939 h 1904889"/>
              <a:gd name="connsiteX16" fmla="*/ 1701260 w 1866900"/>
              <a:gd name="connsiteY16" fmla="*/ 64279 h 1904889"/>
              <a:gd name="connsiteX17" fmla="*/ 1839563 w 1866900"/>
              <a:gd name="connsiteY17" fmla="*/ 203344 h 1904889"/>
              <a:gd name="connsiteX18" fmla="*/ 1866900 w 1866900"/>
              <a:gd name="connsiteY18" fmla="*/ 268114 h 1904889"/>
              <a:gd name="connsiteX19" fmla="*/ 507111 w 1866900"/>
              <a:gd name="connsiteY19" fmla="*/ 1244712 h 1904889"/>
              <a:gd name="connsiteX20" fmla="*/ 503015 w 1866900"/>
              <a:gd name="connsiteY20" fmla="*/ 1321674 h 1904889"/>
              <a:gd name="connsiteX21" fmla="*/ 505587 w 1866900"/>
              <a:gd name="connsiteY21" fmla="*/ 1322817 h 1904889"/>
              <a:gd name="connsiteX22" fmla="*/ 1693545 w 1866900"/>
              <a:gd name="connsiteY22" fmla="*/ 134859 h 1904889"/>
              <a:gd name="connsiteX23" fmla="*/ 1693640 w 1866900"/>
              <a:gd name="connsiteY23" fmla="*/ 124477 h 1904889"/>
              <a:gd name="connsiteX24" fmla="*/ 1636586 w 1866900"/>
              <a:gd name="connsiteY24" fmla="*/ 66946 h 1904889"/>
              <a:gd name="connsiteX25" fmla="*/ 1565339 w 1866900"/>
              <a:gd name="connsiteY25" fmla="*/ 50753 h 1904889"/>
              <a:gd name="connsiteX26" fmla="*/ 1510760 w 1866900"/>
              <a:gd name="connsiteY26" fmla="*/ 89330 h 1904889"/>
              <a:gd name="connsiteX27" fmla="*/ 386715 w 1866900"/>
              <a:gd name="connsiteY27" fmla="*/ 1221947 h 1904889"/>
              <a:gd name="connsiteX28" fmla="*/ 387858 w 1866900"/>
              <a:gd name="connsiteY28" fmla="*/ 1224519 h 1904889"/>
              <a:gd name="connsiteX29" fmla="*/ 481965 w 1866900"/>
              <a:gd name="connsiteY29" fmla="*/ 1219566 h 1904889"/>
              <a:gd name="connsiteX30" fmla="*/ 507116 w 1866900"/>
              <a:gd name="connsiteY30" fmla="*/ 1242274 h 1904889"/>
              <a:gd name="connsiteX31" fmla="*/ 507111 w 1866900"/>
              <a:gd name="connsiteY31" fmla="*/ 1244712 h 1904889"/>
              <a:gd name="connsiteX32" fmla="*/ 637985 w 1866900"/>
              <a:gd name="connsiteY32" fmla="*/ 1368823 h 1904889"/>
              <a:gd name="connsiteX33" fmla="*/ 647986 w 1866900"/>
              <a:gd name="connsiteY33" fmla="*/ 1396160 h 1904889"/>
              <a:gd name="connsiteX34" fmla="*/ 646843 w 1866900"/>
              <a:gd name="connsiteY34" fmla="*/ 1408542 h 1904889"/>
              <a:gd name="connsiteX35" fmla="*/ 645319 w 1866900"/>
              <a:gd name="connsiteY35" fmla="*/ 1479599 h 1904889"/>
              <a:gd name="connsiteX36" fmla="*/ 648557 w 1866900"/>
              <a:gd name="connsiteY36" fmla="*/ 1480932 h 1904889"/>
              <a:gd name="connsiteX37" fmla="*/ 1780889 w 1866900"/>
              <a:gd name="connsiteY37" fmla="*/ 342504 h 1904889"/>
              <a:gd name="connsiteX38" fmla="*/ 1799177 w 1866900"/>
              <a:gd name="connsiteY38" fmla="*/ 324311 h 1904889"/>
              <a:gd name="connsiteX39" fmla="*/ 1813751 w 1866900"/>
              <a:gd name="connsiteY39" fmla="*/ 303737 h 1904889"/>
              <a:gd name="connsiteX40" fmla="*/ 1805464 w 1866900"/>
              <a:gd name="connsiteY40" fmla="*/ 238872 h 1904889"/>
              <a:gd name="connsiteX41" fmla="*/ 1734693 w 1866900"/>
              <a:gd name="connsiteY41" fmla="*/ 165625 h 1904889"/>
              <a:gd name="connsiteX42" fmla="*/ 1726883 w 1866900"/>
              <a:gd name="connsiteY42" fmla="*/ 165815 h 1904889"/>
              <a:gd name="connsiteX43" fmla="*/ 579787 w 1866900"/>
              <a:gd name="connsiteY43" fmla="*/ 1317959 h 1904889"/>
              <a:gd name="connsiteX44" fmla="*/ 539687 w 1866900"/>
              <a:gd name="connsiteY44" fmla="*/ 1364251 h 1904889"/>
              <a:gd name="connsiteX45" fmla="*/ 541211 w 1866900"/>
              <a:gd name="connsiteY45" fmla="*/ 1367204 h 1904889"/>
              <a:gd name="connsiteX46" fmla="*/ 622078 w 1866900"/>
              <a:gd name="connsiteY46" fmla="*/ 1363013 h 1904889"/>
              <a:gd name="connsiteX47" fmla="*/ 637984 w 1866900"/>
              <a:gd name="connsiteY47" fmla="*/ 1368823 h 1904889"/>
              <a:gd name="connsiteX48" fmla="*/ 421767 w 1866900"/>
              <a:gd name="connsiteY48" fmla="*/ 1304720 h 1904889"/>
              <a:gd name="connsiteX49" fmla="*/ 451009 w 1866900"/>
              <a:gd name="connsiteY49" fmla="*/ 1333771 h 1904889"/>
              <a:gd name="connsiteX50" fmla="*/ 455009 w 1866900"/>
              <a:gd name="connsiteY50" fmla="*/ 1332152 h 1904889"/>
              <a:gd name="connsiteX51" fmla="*/ 457676 w 1866900"/>
              <a:gd name="connsiteY51" fmla="*/ 1271096 h 1904889"/>
              <a:gd name="connsiteX52" fmla="*/ 456819 w 1866900"/>
              <a:gd name="connsiteY52" fmla="*/ 1269572 h 1904889"/>
              <a:gd name="connsiteX53" fmla="*/ 455390 w 1866900"/>
              <a:gd name="connsiteY53" fmla="*/ 1268810 h 1904889"/>
              <a:gd name="connsiteX54" fmla="*/ 394335 w 1866900"/>
              <a:gd name="connsiteY54" fmla="*/ 1271477 h 1904889"/>
              <a:gd name="connsiteX55" fmla="*/ 392716 w 1866900"/>
              <a:gd name="connsiteY55" fmla="*/ 1275478 h 1904889"/>
              <a:gd name="connsiteX56" fmla="*/ 421767 w 1866900"/>
              <a:gd name="connsiteY56" fmla="*/ 1304720 h 1904889"/>
              <a:gd name="connsiteX57" fmla="*/ 578834 w 1866900"/>
              <a:gd name="connsiteY57" fmla="*/ 1533986 h 1904889"/>
              <a:gd name="connsiteX58" fmla="*/ 580009 w 1866900"/>
              <a:gd name="connsiteY58" fmla="*/ 1529699 h 1904889"/>
              <a:gd name="connsiteX59" fmla="*/ 579501 w 1866900"/>
              <a:gd name="connsiteY59" fmla="*/ 1529033 h 1904889"/>
              <a:gd name="connsiteX60" fmla="*/ 341757 w 1866900"/>
              <a:gd name="connsiteY60" fmla="*/ 1291289 h 1904889"/>
              <a:gd name="connsiteX61" fmla="*/ 337312 w 1866900"/>
              <a:gd name="connsiteY61" fmla="*/ 1291297 h 1904889"/>
              <a:gd name="connsiteX62" fmla="*/ 336709 w 1866900"/>
              <a:gd name="connsiteY62" fmla="*/ 1292147 h 1904889"/>
              <a:gd name="connsiteX63" fmla="*/ 207074 w 1866900"/>
              <a:gd name="connsiteY63" fmla="*/ 1557323 h 1904889"/>
              <a:gd name="connsiteX64" fmla="*/ 207740 w 1866900"/>
              <a:gd name="connsiteY64" fmla="*/ 1560942 h 1904889"/>
              <a:gd name="connsiteX65" fmla="*/ 324707 w 1866900"/>
              <a:gd name="connsiteY65" fmla="*/ 1677909 h 1904889"/>
              <a:gd name="connsiteX66" fmla="*/ 328517 w 1866900"/>
              <a:gd name="connsiteY66" fmla="*/ 1678385 h 1904889"/>
              <a:gd name="connsiteX67" fmla="*/ 578834 w 1866900"/>
              <a:gd name="connsiteY67" fmla="*/ 1533986 h 1904889"/>
              <a:gd name="connsiteX68" fmla="*/ 565404 w 1866900"/>
              <a:gd name="connsiteY68" fmla="*/ 1446071 h 1904889"/>
              <a:gd name="connsiteX69" fmla="*/ 593503 w 1866900"/>
              <a:gd name="connsiteY69" fmla="*/ 1473598 h 1904889"/>
              <a:gd name="connsiteX70" fmla="*/ 597313 w 1866900"/>
              <a:gd name="connsiteY70" fmla="*/ 1471979 h 1904889"/>
              <a:gd name="connsiteX71" fmla="*/ 599408 w 1866900"/>
              <a:gd name="connsiteY71" fmla="*/ 1413876 h 1904889"/>
              <a:gd name="connsiteX72" fmla="*/ 598551 w 1866900"/>
              <a:gd name="connsiteY72" fmla="*/ 1412352 h 1904889"/>
              <a:gd name="connsiteX73" fmla="*/ 597218 w 1866900"/>
              <a:gd name="connsiteY73" fmla="*/ 1411685 h 1904889"/>
              <a:gd name="connsiteX74" fmla="*/ 539020 w 1866900"/>
              <a:gd name="connsiteY74" fmla="*/ 1414638 h 1904889"/>
              <a:gd name="connsiteX75" fmla="*/ 537496 w 1866900"/>
              <a:gd name="connsiteY75" fmla="*/ 1418543 h 1904889"/>
              <a:gd name="connsiteX76" fmla="*/ 565404 w 1866900"/>
              <a:gd name="connsiteY76" fmla="*/ 1446071 h 1904889"/>
              <a:gd name="connsiteX77" fmla="*/ 267653 w 1866900"/>
              <a:gd name="connsiteY77" fmla="*/ 1692292 h 1904889"/>
              <a:gd name="connsiteX78" fmla="*/ 268515 w 1866900"/>
              <a:gd name="connsiteY78" fmla="*/ 1689176 h 1904889"/>
              <a:gd name="connsiteX79" fmla="*/ 268129 w 1866900"/>
              <a:gd name="connsiteY79" fmla="*/ 1688672 h 1904889"/>
              <a:gd name="connsiteX80" fmla="*/ 194501 w 1866900"/>
              <a:gd name="connsiteY80" fmla="*/ 1615139 h 1904889"/>
              <a:gd name="connsiteX81" fmla="*/ 188500 w 1866900"/>
              <a:gd name="connsiteY81" fmla="*/ 1616568 h 1904889"/>
              <a:gd name="connsiteX82" fmla="*/ 143542 w 1866900"/>
              <a:gd name="connsiteY82" fmla="*/ 1756967 h 1904889"/>
              <a:gd name="connsiteX83" fmla="*/ 148590 w 1866900"/>
              <a:gd name="connsiteY83" fmla="*/ 1761062 h 1904889"/>
              <a:gd name="connsiteX84" fmla="*/ 267653 w 1866900"/>
              <a:gd name="connsiteY84" fmla="*/ 1692292 h 1904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</a:cxnLst>
            <a:rect l="l" t="t" r="r" b="b"/>
            <a:pathLst>
              <a:path w="1866900" h="1904889">
                <a:moveTo>
                  <a:pt x="1866900" y="268114"/>
                </a:moveTo>
                <a:lnTo>
                  <a:pt x="1866900" y="287640"/>
                </a:lnTo>
                <a:cubicBezTo>
                  <a:pt x="1862392" y="317168"/>
                  <a:pt x="1846802" y="345330"/>
                  <a:pt x="1820132" y="372127"/>
                </a:cubicBezTo>
                <a:cubicBezTo>
                  <a:pt x="1436783" y="757127"/>
                  <a:pt x="1053433" y="1142033"/>
                  <a:pt x="670084" y="1526843"/>
                </a:cubicBezTo>
                <a:cubicBezTo>
                  <a:pt x="653320" y="1543607"/>
                  <a:pt x="634619" y="1557862"/>
                  <a:pt x="613982" y="1569610"/>
                </a:cubicBezTo>
                <a:cubicBezTo>
                  <a:pt x="419227" y="1680544"/>
                  <a:pt x="224854" y="1792304"/>
                  <a:pt x="30861" y="1904890"/>
                </a:cubicBezTo>
                <a:lnTo>
                  <a:pt x="20003" y="1904890"/>
                </a:lnTo>
                <a:cubicBezTo>
                  <a:pt x="10287" y="1901715"/>
                  <a:pt x="3620" y="1895301"/>
                  <a:pt x="0" y="1885649"/>
                </a:cubicBezTo>
                <a:lnTo>
                  <a:pt x="0" y="1876220"/>
                </a:lnTo>
                <a:lnTo>
                  <a:pt x="165830" y="1532462"/>
                </a:lnTo>
                <a:cubicBezTo>
                  <a:pt x="176353" y="1510780"/>
                  <a:pt x="187621" y="1487927"/>
                  <a:pt x="199549" y="1464073"/>
                </a:cubicBezTo>
                <a:cubicBezTo>
                  <a:pt x="231870" y="1399366"/>
                  <a:pt x="265652" y="1329516"/>
                  <a:pt x="300895" y="1254523"/>
                </a:cubicBezTo>
                <a:cubicBezTo>
                  <a:pt x="308959" y="1237378"/>
                  <a:pt x="319532" y="1222170"/>
                  <a:pt x="332613" y="1208898"/>
                </a:cubicBezTo>
                <a:cubicBezTo>
                  <a:pt x="743522" y="793291"/>
                  <a:pt x="1123728" y="410354"/>
                  <a:pt x="1473232" y="60088"/>
                </a:cubicBezTo>
                <a:cubicBezTo>
                  <a:pt x="1501172" y="32084"/>
                  <a:pt x="1524921" y="14558"/>
                  <a:pt x="1544479" y="7510"/>
                </a:cubicBezTo>
                <a:cubicBezTo>
                  <a:pt x="1575086" y="-3539"/>
                  <a:pt x="1605090" y="-2396"/>
                  <a:pt x="1634490" y="10939"/>
                </a:cubicBezTo>
                <a:cubicBezTo>
                  <a:pt x="1650937" y="18432"/>
                  <a:pt x="1673193" y="36212"/>
                  <a:pt x="1701260" y="64279"/>
                </a:cubicBezTo>
                <a:cubicBezTo>
                  <a:pt x="1747552" y="110570"/>
                  <a:pt x="1793653" y="156925"/>
                  <a:pt x="1839563" y="203344"/>
                </a:cubicBezTo>
                <a:cubicBezTo>
                  <a:pt x="1852454" y="216425"/>
                  <a:pt x="1861566" y="238015"/>
                  <a:pt x="1866900" y="268114"/>
                </a:cubicBezTo>
                <a:close/>
                <a:moveTo>
                  <a:pt x="507111" y="1244712"/>
                </a:moveTo>
                <a:lnTo>
                  <a:pt x="503015" y="1321674"/>
                </a:lnTo>
                <a:cubicBezTo>
                  <a:pt x="502888" y="1324278"/>
                  <a:pt x="503746" y="1324659"/>
                  <a:pt x="505587" y="1322817"/>
                </a:cubicBezTo>
                <a:lnTo>
                  <a:pt x="1693545" y="134859"/>
                </a:lnTo>
                <a:cubicBezTo>
                  <a:pt x="1696974" y="131430"/>
                  <a:pt x="1697006" y="127969"/>
                  <a:pt x="1693640" y="124477"/>
                </a:cubicBezTo>
                <a:cubicBezTo>
                  <a:pt x="1660620" y="90250"/>
                  <a:pt x="1641602" y="71073"/>
                  <a:pt x="1636586" y="66946"/>
                </a:cubicBezTo>
                <a:cubicBezTo>
                  <a:pt x="1614043" y="48277"/>
                  <a:pt x="1590294" y="42879"/>
                  <a:pt x="1565339" y="50753"/>
                </a:cubicBezTo>
                <a:cubicBezTo>
                  <a:pt x="1549591" y="55770"/>
                  <a:pt x="1531398" y="68629"/>
                  <a:pt x="1510760" y="89330"/>
                </a:cubicBezTo>
                <a:cubicBezTo>
                  <a:pt x="1240631" y="360475"/>
                  <a:pt x="865950" y="738014"/>
                  <a:pt x="386715" y="1221947"/>
                </a:cubicBezTo>
                <a:cubicBezTo>
                  <a:pt x="384937" y="1223789"/>
                  <a:pt x="385318" y="1224646"/>
                  <a:pt x="387858" y="1224519"/>
                </a:cubicBezTo>
                <a:lnTo>
                  <a:pt x="481965" y="1219566"/>
                </a:lnTo>
                <a:cubicBezTo>
                  <a:pt x="495206" y="1218919"/>
                  <a:pt x="506466" y="1229086"/>
                  <a:pt x="507116" y="1242274"/>
                </a:cubicBezTo>
                <a:cubicBezTo>
                  <a:pt x="507156" y="1243086"/>
                  <a:pt x="507154" y="1243900"/>
                  <a:pt x="507111" y="1244712"/>
                </a:cubicBezTo>
                <a:close/>
                <a:moveTo>
                  <a:pt x="637985" y="1368823"/>
                </a:moveTo>
                <a:cubicBezTo>
                  <a:pt x="645732" y="1376189"/>
                  <a:pt x="649065" y="1385301"/>
                  <a:pt x="647986" y="1396160"/>
                </a:cubicBezTo>
                <a:cubicBezTo>
                  <a:pt x="647224" y="1404034"/>
                  <a:pt x="646843" y="1408161"/>
                  <a:pt x="646843" y="1408542"/>
                </a:cubicBezTo>
                <a:cubicBezTo>
                  <a:pt x="646335" y="1432545"/>
                  <a:pt x="645827" y="1456231"/>
                  <a:pt x="645319" y="1479599"/>
                </a:cubicBezTo>
                <a:cubicBezTo>
                  <a:pt x="645255" y="1482710"/>
                  <a:pt x="646335" y="1483155"/>
                  <a:pt x="648557" y="1480932"/>
                </a:cubicBezTo>
                <a:cubicBezTo>
                  <a:pt x="649319" y="1480107"/>
                  <a:pt x="1026763" y="1100631"/>
                  <a:pt x="1780889" y="342504"/>
                </a:cubicBezTo>
                <a:cubicBezTo>
                  <a:pt x="1787493" y="335837"/>
                  <a:pt x="1793589" y="329772"/>
                  <a:pt x="1799177" y="324311"/>
                </a:cubicBezTo>
                <a:cubicBezTo>
                  <a:pt x="1806797" y="316882"/>
                  <a:pt x="1811655" y="310024"/>
                  <a:pt x="1813751" y="303737"/>
                </a:cubicBezTo>
                <a:cubicBezTo>
                  <a:pt x="1822196" y="278337"/>
                  <a:pt x="1819434" y="256716"/>
                  <a:pt x="1805464" y="238872"/>
                </a:cubicBezTo>
                <a:cubicBezTo>
                  <a:pt x="1790605" y="219886"/>
                  <a:pt x="1767015" y="195470"/>
                  <a:pt x="1734693" y="165625"/>
                </a:cubicBezTo>
                <a:cubicBezTo>
                  <a:pt x="1732026" y="163148"/>
                  <a:pt x="1729423" y="163212"/>
                  <a:pt x="1726883" y="165815"/>
                </a:cubicBezTo>
                <a:cubicBezTo>
                  <a:pt x="1531493" y="362475"/>
                  <a:pt x="1149128" y="746523"/>
                  <a:pt x="579787" y="1317959"/>
                </a:cubicBezTo>
                <a:cubicBezTo>
                  <a:pt x="574834" y="1322976"/>
                  <a:pt x="561467" y="1338406"/>
                  <a:pt x="539687" y="1364251"/>
                </a:cubicBezTo>
                <a:cubicBezTo>
                  <a:pt x="537972" y="1366346"/>
                  <a:pt x="538480" y="1367331"/>
                  <a:pt x="541211" y="1367204"/>
                </a:cubicBezTo>
                <a:lnTo>
                  <a:pt x="622078" y="1363013"/>
                </a:lnTo>
                <a:cubicBezTo>
                  <a:pt x="627969" y="1362647"/>
                  <a:pt x="633736" y="1364754"/>
                  <a:pt x="637984" y="1368823"/>
                </a:cubicBezTo>
                <a:close/>
                <a:moveTo>
                  <a:pt x="421767" y="1304720"/>
                </a:moveTo>
                <a:cubicBezTo>
                  <a:pt x="439738" y="1322690"/>
                  <a:pt x="449485" y="1332374"/>
                  <a:pt x="451009" y="1333771"/>
                </a:cubicBezTo>
                <a:cubicBezTo>
                  <a:pt x="453485" y="1336120"/>
                  <a:pt x="454819" y="1335581"/>
                  <a:pt x="455009" y="1332152"/>
                </a:cubicBezTo>
                <a:cubicBezTo>
                  <a:pt x="456089" y="1312530"/>
                  <a:pt x="456978" y="1292178"/>
                  <a:pt x="457676" y="1271096"/>
                </a:cubicBezTo>
                <a:cubicBezTo>
                  <a:pt x="457676" y="1270652"/>
                  <a:pt x="457391" y="1270144"/>
                  <a:pt x="456819" y="1269572"/>
                </a:cubicBezTo>
                <a:cubicBezTo>
                  <a:pt x="456311" y="1269001"/>
                  <a:pt x="455835" y="1268747"/>
                  <a:pt x="455390" y="1268810"/>
                </a:cubicBezTo>
                <a:cubicBezTo>
                  <a:pt x="434308" y="1269509"/>
                  <a:pt x="413957" y="1270398"/>
                  <a:pt x="394335" y="1271477"/>
                </a:cubicBezTo>
                <a:cubicBezTo>
                  <a:pt x="390906" y="1271668"/>
                  <a:pt x="390366" y="1273001"/>
                  <a:pt x="392716" y="1275478"/>
                </a:cubicBezTo>
                <a:cubicBezTo>
                  <a:pt x="394113" y="1277002"/>
                  <a:pt x="403797" y="1286749"/>
                  <a:pt x="421767" y="1304720"/>
                </a:cubicBezTo>
                <a:close/>
                <a:moveTo>
                  <a:pt x="578834" y="1533986"/>
                </a:moveTo>
                <a:cubicBezTo>
                  <a:pt x="580343" y="1533127"/>
                  <a:pt x="580868" y="1531207"/>
                  <a:pt x="580009" y="1529699"/>
                </a:cubicBezTo>
                <a:cubicBezTo>
                  <a:pt x="579870" y="1529456"/>
                  <a:pt x="579699" y="1529232"/>
                  <a:pt x="579501" y="1529033"/>
                </a:cubicBezTo>
                <a:lnTo>
                  <a:pt x="341757" y="1291289"/>
                </a:lnTo>
                <a:cubicBezTo>
                  <a:pt x="340527" y="1290064"/>
                  <a:pt x="338537" y="1290067"/>
                  <a:pt x="337312" y="1291297"/>
                </a:cubicBezTo>
                <a:cubicBezTo>
                  <a:pt x="337065" y="1291545"/>
                  <a:pt x="336861" y="1291832"/>
                  <a:pt x="336709" y="1292147"/>
                </a:cubicBezTo>
                <a:lnTo>
                  <a:pt x="207074" y="1557323"/>
                </a:lnTo>
                <a:cubicBezTo>
                  <a:pt x="206492" y="1558547"/>
                  <a:pt x="206761" y="1560005"/>
                  <a:pt x="207740" y="1560942"/>
                </a:cubicBezTo>
                <a:lnTo>
                  <a:pt x="324707" y="1677909"/>
                </a:lnTo>
                <a:cubicBezTo>
                  <a:pt x="325721" y="1678915"/>
                  <a:pt x="327287" y="1679111"/>
                  <a:pt x="328517" y="1678385"/>
                </a:cubicBezTo>
                <a:lnTo>
                  <a:pt x="578834" y="1533986"/>
                </a:lnTo>
                <a:close/>
                <a:moveTo>
                  <a:pt x="565404" y="1446071"/>
                </a:moveTo>
                <a:cubicBezTo>
                  <a:pt x="582676" y="1463089"/>
                  <a:pt x="592042" y="1472264"/>
                  <a:pt x="593503" y="1473598"/>
                </a:cubicBezTo>
                <a:cubicBezTo>
                  <a:pt x="595852" y="1475820"/>
                  <a:pt x="597122" y="1475281"/>
                  <a:pt x="597313" y="1471979"/>
                </a:cubicBezTo>
                <a:cubicBezTo>
                  <a:pt x="598202" y="1453310"/>
                  <a:pt x="598900" y="1433942"/>
                  <a:pt x="599408" y="1413876"/>
                </a:cubicBezTo>
                <a:cubicBezTo>
                  <a:pt x="599408" y="1413432"/>
                  <a:pt x="599123" y="1412924"/>
                  <a:pt x="598551" y="1412352"/>
                </a:cubicBezTo>
                <a:cubicBezTo>
                  <a:pt x="598043" y="1411844"/>
                  <a:pt x="597599" y="1411622"/>
                  <a:pt x="597218" y="1411685"/>
                </a:cubicBezTo>
                <a:cubicBezTo>
                  <a:pt x="577088" y="1412511"/>
                  <a:pt x="557689" y="1413495"/>
                  <a:pt x="539020" y="1414638"/>
                </a:cubicBezTo>
                <a:cubicBezTo>
                  <a:pt x="535781" y="1414892"/>
                  <a:pt x="535273" y="1416194"/>
                  <a:pt x="537496" y="1418543"/>
                </a:cubicBezTo>
                <a:cubicBezTo>
                  <a:pt x="538893" y="1419940"/>
                  <a:pt x="548196" y="1429116"/>
                  <a:pt x="565404" y="1446071"/>
                </a:cubicBezTo>
                <a:close/>
                <a:moveTo>
                  <a:pt x="267653" y="1692292"/>
                </a:moveTo>
                <a:cubicBezTo>
                  <a:pt x="268751" y="1691670"/>
                  <a:pt x="269138" y="1690275"/>
                  <a:pt x="268515" y="1689176"/>
                </a:cubicBezTo>
                <a:cubicBezTo>
                  <a:pt x="268411" y="1688991"/>
                  <a:pt x="268280" y="1688821"/>
                  <a:pt x="268129" y="1688672"/>
                </a:cubicBezTo>
                <a:lnTo>
                  <a:pt x="194501" y="1615139"/>
                </a:lnTo>
                <a:cubicBezTo>
                  <a:pt x="191707" y="1612282"/>
                  <a:pt x="189706" y="1612758"/>
                  <a:pt x="188500" y="1616568"/>
                </a:cubicBezTo>
                <a:lnTo>
                  <a:pt x="143542" y="1756967"/>
                </a:lnTo>
                <a:cubicBezTo>
                  <a:pt x="141700" y="1762682"/>
                  <a:pt x="143383" y="1764047"/>
                  <a:pt x="148590" y="1761062"/>
                </a:cubicBezTo>
                <a:lnTo>
                  <a:pt x="267653" y="1692292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1038" name="Short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CCB77CF-6455-C175-801B-600BDDD44BD7}"/>
              </a:ext>
            </a:extLst>
          </p:cNvPr>
          <p:cNvGrpSpPr>
            <a:grpSpLocks noChangeAspect="1"/>
          </p:cNvGrpSpPr>
          <p:nvPr/>
        </p:nvGrpSpPr>
        <p:grpSpPr>
          <a:xfrm>
            <a:off x="7951872" y="4594079"/>
            <a:ext cx="1484922" cy="1328399"/>
            <a:chOff x="6486032" y="4947272"/>
            <a:chExt cx="2135867" cy="1910727"/>
          </a:xfrm>
          <a:solidFill>
            <a:schemeClr val="tx1"/>
          </a:solidFill>
        </p:grpSpPr>
        <p:sp>
          <p:nvSpPr>
            <p:cNvPr id="1039" name="Free-form: Shape 718">
              <a:extLst>
                <a:ext uri="{FF2B5EF4-FFF2-40B4-BE49-F238E27FC236}">
                  <a16:creationId xmlns:a16="http://schemas.microsoft.com/office/drawing/2014/main" id="{C619185D-CA54-6266-EE25-39BECD55D31F}"/>
                </a:ext>
              </a:extLst>
            </p:cNvPr>
            <p:cNvSpPr/>
            <p:nvPr/>
          </p:nvSpPr>
          <p:spPr>
            <a:xfrm>
              <a:off x="6486032" y="4947272"/>
              <a:ext cx="2135867" cy="1910727"/>
            </a:xfrm>
            <a:custGeom>
              <a:avLst/>
              <a:gdLst>
                <a:gd name="connsiteX0" fmla="*/ 1451552 w 2135867"/>
                <a:gd name="connsiteY0" fmla="*/ 1910728 h 1910727"/>
                <a:gd name="connsiteX1" fmla="*/ 1379352 w 2135867"/>
                <a:gd name="connsiteY1" fmla="*/ 1910728 h 1910727"/>
                <a:gd name="connsiteX2" fmla="*/ 1229619 w 2135867"/>
                <a:gd name="connsiteY2" fmla="*/ 1891392 h 1910727"/>
                <a:gd name="connsiteX3" fmla="*/ 1175327 w 2135867"/>
                <a:gd name="connsiteY3" fmla="*/ 1855102 h 1910727"/>
                <a:gd name="connsiteX4" fmla="*/ 1156562 w 2135867"/>
                <a:gd name="connsiteY4" fmla="*/ 1796619 h 1910727"/>
                <a:gd name="connsiteX5" fmla="*/ 1068742 w 2135867"/>
                <a:gd name="connsiteY5" fmla="*/ 1378090 h 1910727"/>
                <a:gd name="connsiteX6" fmla="*/ 1065694 w 2135867"/>
                <a:gd name="connsiteY6" fmla="*/ 1378185 h 1910727"/>
                <a:gd name="connsiteX7" fmla="*/ 971111 w 2135867"/>
                <a:gd name="connsiteY7" fmla="*/ 1831194 h 1910727"/>
                <a:gd name="connsiteX8" fmla="*/ 918247 w 2135867"/>
                <a:gd name="connsiteY8" fmla="*/ 1887678 h 1910727"/>
                <a:gd name="connsiteX9" fmla="*/ 802423 w 2135867"/>
                <a:gd name="connsiteY9" fmla="*/ 1907299 h 1910727"/>
                <a:gd name="connsiteX10" fmla="*/ 367607 w 2135867"/>
                <a:gd name="connsiteY10" fmla="*/ 1855292 h 1910727"/>
                <a:gd name="connsiteX11" fmla="*/ 91096 w 2135867"/>
                <a:gd name="connsiteY11" fmla="*/ 1763567 h 1910727"/>
                <a:gd name="connsiteX12" fmla="*/ 32231 w 2135867"/>
                <a:gd name="connsiteY12" fmla="*/ 1729086 h 1910727"/>
                <a:gd name="connsiteX13" fmla="*/ 894 w 2135867"/>
                <a:gd name="connsiteY13" fmla="*/ 1679366 h 1910727"/>
                <a:gd name="connsiteX14" fmla="*/ 5657 w 2135867"/>
                <a:gd name="connsiteY14" fmla="*/ 1624025 h 1910727"/>
                <a:gd name="connsiteX15" fmla="*/ 279691 w 2135867"/>
                <a:gd name="connsiteY15" fmla="*/ 289383 h 1910727"/>
                <a:gd name="connsiteX16" fmla="*/ 297884 w 2135867"/>
                <a:gd name="connsiteY16" fmla="*/ 111646 h 1910727"/>
                <a:gd name="connsiteX17" fmla="*/ 316362 w 2135867"/>
                <a:gd name="connsiteY17" fmla="*/ 34589 h 1910727"/>
                <a:gd name="connsiteX18" fmla="*/ 368464 w 2135867"/>
                <a:gd name="connsiteY18" fmla="*/ 1061 h 1910727"/>
                <a:gd name="connsiteX19" fmla="*/ 427233 w 2135867"/>
                <a:gd name="connsiteY19" fmla="*/ 4871 h 1910727"/>
                <a:gd name="connsiteX20" fmla="*/ 558297 w 2135867"/>
                <a:gd name="connsiteY20" fmla="*/ 22587 h 1910727"/>
                <a:gd name="connsiteX21" fmla="*/ 1163420 w 2135867"/>
                <a:gd name="connsiteY21" fmla="*/ 44114 h 1910727"/>
                <a:gd name="connsiteX22" fmla="*/ 1740350 w 2135867"/>
                <a:gd name="connsiteY22" fmla="*/ 2108 h 1910727"/>
                <a:gd name="connsiteX23" fmla="*/ 1822836 w 2135867"/>
                <a:gd name="connsiteY23" fmla="*/ 36303 h 1910727"/>
                <a:gd name="connsiteX24" fmla="*/ 1839886 w 2135867"/>
                <a:gd name="connsiteY24" fmla="*/ 112884 h 1910727"/>
                <a:gd name="connsiteX25" fmla="*/ 1849602 w 2135867"/>
                <a:gd name="connsiteY25" fmla="*/ 234899 h 1910727"/>
                <a:gd name="connsiteX26" fmla="*/ 1868271 w 2135867"/>
                <a:gd name="connsiteY26" fmla="*/ 355486 h 1910727"/>
                <a:gd name="connsiteX27" fmla="*/ 2131065 w 2135867"/>
                <a:gd name="connsiteY27" fmla="*/ 1634884 h 1910727"/>
                <a:gd name="connsiteX28" fmla="*/ 2130399 w 2135867"/>
                <a:gd name="connsiteY28" fmla="*/ 1644123 h 1910727"/>
                <a:gd name="connsiteX29" fmla="*/ 2132970 w 2135867"/>
                <a:gd name="connsiteY29" fmla="*/ 1656220 h 1910727"/>
                <a:gd name="connsiteX30" fmla="*/ 2135828 w 2135867"/>
                <a:gd name="connsiteY30" fmla="*/ 1664221 h 1910727"/>
                <a:gd name="connsiteX31" fmla="*/ 2107824 w 2135867"/>
                <a:gd name="connsiteY31" fmla="*/ 1724991 h 1910727"/>
                <a:gd name="connsiteX32" fmla="*/ 2057151 w 2135867"/>
                <a:gd name="connsiteY32" fmla="*/ 1759757 h 1910727"/>
                <a:gd name="connsiteX33" fmla="*/ 1785213 w 2135867"/>
                <a:gd name="connsiteY33" fmla="*/ 1864151 h 1910727"/>
                <a:gd name="connsiteX34" fmla="*/ 1451552 w 2135867"/>
                <a:gd name="connsiteY34" fmla="*/ 1910728 h 1910727"/>
                <a:gd name="connsiteX35" fmla="*/ 1067218 w 2135867"/>
                <a:gd name="connsiteY35" fmla="*/ 1231596 h 1910727"/>
                <a:gd name="connsiteX36" fmla="*/ 1090840 w 2135867"/>
                <a:gd name="connsiteY36" fmla="*/ 1253598 h 1910727"/>
                <a:gd name="connsiteX37" fmla="*/ 1207140 w 2135867"/>
                <a:gd name="connsiteY37" fmla="*/ 1805763 h 1910727"/>
                <a:gd name="connsiteX38" fmla="*/ 1215332 w 2135867"/>
                <a:gd name="connsiteY38" fmla="*/ 1829004 h 1910727"/>
                <a:gd name="connsiteX39" fmla="*/ 1236858 w 2135867"/>
                <a:gd name="connsiteY39" fmla="*/ 1843672 h 1910727"/>
                <a:gd name="connsiteX40" fmla="*/ 1377066 w 2135867"/>
                <a:gd name="connsiteY40" fmla="*/ 1861674 h 1910727"/>
                <a:gd name="connsiteX41" fmla="*/ 1790070 w 2135867"/>
                <a:gd name="connsiteY41" fmla="*/ 1814049 h 1910727"/>
                <a:gd name="connsiteX42" fmla="*/ 2035815 w 2135867"/>
                <a:gd name="connsiteY42" fmla="*/ 1717371 h 1910727"/>
                <a:gd name="connsiteX43" fmla="*/ 2080773 w 2135867"/>
                <a:gd name="connsiteY43" fmla="*/ 1685271 h 1910727"/>
                <a:gd name="connsiteX44" fmla="*/ 2085155 w 2135867"/>
                <a:gd name="connsiteY44" fmla="*/ 1677461 h 1910727"/>
                <a:gd name="connsiteX45" fmla="*/ 2085060 w 2135867"/>
                <a:gd name="connsiteY45" fmla="*/ 1649553 h 1910727"/>
                <a:gd name="connsiteX46" fmla="*/ 1819788 w 2135867"/>
                <a:gd name="connsiteY46" fmla="*/ 354819 h 1910727"/>
                <a:gd name="connsiteX47" fmla="*/ 1800452 w 2135867"/>
                <a:gd name="connsiteY47" fmla="*/ 220136 h 1910727"/>
                <a:gd name="connsiteX48" fmla="*/ 1789118 w 2135867"/>
                <a:gd name="connsiteY48" fmla="*/ 84690 h 1910727"/>
                <a:gd name="connsiteX49" fmla="*/ 1750923 w 2135867"/>
                <a:gd name="connsiteY49" fmla="*/ 47638 h 1910727"/>
                <a:gd name="connsiteX50" fmla="*/ 1221618 w 2135867"/>
                <a:gd name="connsiteY50" fmla="*/ 90310 h 1910727"/>
                <a:gd name="connsiteX51" fmla="*/ 584015 w 2135867"/>
                <a:gd name="connsiteY51" fmla="*/ 72974 h 1910727"/>
                <a:gd name="connsiteX52" fmla="*/ 387038 w 2135867"/>
                <a:gd name="connsiteY52" fmla="*/ 47257 h 1910727"/>
                <a:gd name="connsiteX53" fmla="*/ 349354 w 2135867"/>
                <a:gd name="connsiteY53" fmla="*/ 74224 h 1910727"/>
                <a:gd name="connsiteX54" fmla="*/ 349033 w 2135867"/>
                <a:gd name="connsiteY54" fmla="*/ 76784 h 1910727"/>
                <a:gd name="connsiteX55" fmla="*/ 335222 w 2135867"/>
                <a:gd name="connsiteY55" fmla="*/ 236995 h 1910727"/>
                <a:gd name="connsiteX56" fmla="*/ 326459 w 2135867"/>
                <a:gd name="connsiteY56" fmla="*/ 297765 h 1910727"/>
                <a:gd name="connsiteX57" fmla="*/ 48995 w 2135867"/>
                <a:gd name="connsiteY57" fmla="*/ 1649553 h 1910727"/>
                <a:gd name="connsiteX58" fmla="*/ 51281 w 2135867"/>
                <a:gd name="connsiteY58" fmla="*/ 1676413 h 1910727"/>
                <a:gd name="connsiteX59" fmla="*/ 67283 w 2135867"/>
                <a:gd name="connsiteY59" fmla="*/ 1696130 h 1910727"/>
                <a:gd name="connsiteX60" fmla="*/ 117099 w 2135867"/>
                <a:gd name="connsiteY60" fmla="*/ 1723562 h 1910727"/>
                <a:gd name="connsiteX61" fmla="*/ 405802 w 2135867"/>
                <a:gd name="connsiteY61" fmla="*/ 1815669 h 1910727"/>
                <a:gd name="connsiteX62" fmla="*/ 812901 w 2135867"/>
                <a:gd name="connsiteY62" fmla="*/ 1858817 h 1910727"/>
                <a:gd name="connsiteX63" fmla="*/ 900054 w 2135867"/>
                <a:gd name="connsiteY63" fmla="*/ 1843577 h 1910727"/>
                <a:gd name="connsiteX64" fmla="*/ 926343 w 2135867"/>
                <a:gd name="connsiteY64" fmla="*/ 1815478 h 1910727"/>
                <a:gd name="connsiteX65" fmla="*/ 1045120 w 2135867"/>
                <a:gd name="connsiteY65" fmla="*/ 1251979 h 1910727"/>
                <a:gd name="connsiteX66" fmla="*/ 1067218 w 2135867"/>
                <a:gd name="connsiteY66" fmla="*/ 1231596 h 1910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2135867" h="1910727">
                  <a:moveTo>
                    <a:pt x="1451552" y="1910728"/>
                  </a:moveTo>
                  <a:lnTo>
                    <a:pt x="1379352" y="1910728"/>
                  </a:lnTo>
                  <a:cubicBezTo>
                    <a:pt x="1319916" y="1906601"/>
                    <a:pt x="1270005" y="1900155"/>
                    <a:pt x="1229619" y="1891392"/>
                  </a:cubicBezTo>
                  <a:cubicBezTo>
                    <a:pt x="1205553" y="1886122"/>
                    <a:pt x="1187455" y="1874025"/>
                    <a:pt x="1175327" y="1855102"/>
                  </a:cubicBezTo>
                  <a:cubicBezTo>
                    <a:pt x="1168977" y="1845196"/>
                    <a:pt x="1162722" y="1825702"/>
                    <a:pt x="1156562" y="1796619"/>
                  </a:cubicBezTo>
                  <a:cubicBezTo>
                    <a:pt x="1128496" y="1663142"/>
                    <a:pt x="1099222" y="1523632"/>
                    <a:pt x="1068742" y="1378090"/>
                  </a:cubicBezTo>
                  <a:cubicBezTo>
                    <a:pt x="1067726" y="1373328"/>
                    <a:pt x="1066710" y="1373359"/>
                    <a:pt x="1065694" y="1378185"/>
                  </a:cubicBezTo>
                  <a:cubicBezTo>
                    <a:pt x="1029054" y="1557382"/>
                    <a:pt x="997527" y="1708385"/>
                    <a:pt x="971111" y="1831194"/>
                  </a:cubicBezTo>
                  <a:cubicBezTo>
                    <a:pt x="965650" y="1856658"/>
                    <a:pt x="948028" y="1875486"/>
                    <a:pt x="918247" y="1887678"/>
                  </a:cubicBezTo>
                  <a:cubicBezTo>
                    <a:pt x="894815" y="1897203"/>
                    <a:pt x="856207" y="1903743"/>
                    <a:pt x="802423" y="1907299"/>
                  </a:cubicBezTo>
                  <a:cubicBezTo>
                    <a:pt x="659929" y="1916729"/>
                    <a:pt x="517721" y="1892059"/>
                    <a:pt x="367607" y="1855292"/>
                  </a:cubicBezTo>
                  <a:cubicBezTo>
                    <a:pt x="267086" y="1830718"/>
                    <a:pt x="174916" y="1800143"/>
                    <a:pt x="91096" y="1763567"/>
                  </a:cubicBezTo>
                  <a:cubicBezTo>
                    <a:pt x="73824" y="1756010"/>
                    <a:pt x="54202" y="1744517"/>
                    <a:pt x="32231" y="1729086"/>
                  </a:cubicBezTo>
                  <a:cubicBezTo>
                    <a:pt x="15340" y="1717212"/>
                    <a:pt x="4895" y="1700638"/>
                    <a:pt x="894" y="1679366"/>
                  </a:cubicBezTo>
                  <a:cubicBezTo>
                    <a:pt x="-1201" y="1668253"/>
                    <a:pt x="386" y="1649807"/>
                    <a:pt x="5657" y="1624025"/>
                  </a:cubicBezTo>
                  <a:cubicBezTo>
                    <a:pt x="106431" y="1132218"/>
                    <a:pt x="197776" y="687337"/>
                    <a:pt x="279691" y="289383"/>
                  </a:cubicBezTo>
                  <a:cubicBezTo>
                    <a:pt x="283564" y="270460"/>
                    <a:pt x="289629" y="211214"/>
                    <a:pt x="297884" y="111646"/>
                  </a:cubicBezTo>
                  <a:cubicBezTo>
                    <a:pt x="300995" y="74181"/>
                    <a:pt x="307155" y="48495"/>
                    <a:pt x="316362" y="34589"/>
                  </a:cubicBezTo>
                  <a:cubicBezTo>
                    <a:pt x="328173" y="16555"/>
                    <a:pt x="345540" y="5379"/>
                    <a:pt x="368464" y="1061"/>
                  </a:cubicBezTo>
                  <a:cubicBezTo>
                    <a:pt x="380338" y="-1162"/>
                    <a:pt x="399928" y="108"/>
                    <a:pt x="427233" y="4871"/>
                  </a:cubicBezTo>
                  <a:cubicBezTo>
                    <a:pt x="465079" y="11475"/>
                    <a:pt x="508767" y="17380"/>
                    <a:pt x="558297" y="22587"/>
                  </a:cubicBezTo>
                  <a:cubicBezTo>
                    <a:pt x="719460" y="39478"/>
                    <a:pt x="921168" y="46654"/>
                    <a:pt x="1163420" y="44114"/>
                  </a:cubicBezTo>
                  <a:cubicBezTo>
                    <a:pt x="1337029" y="42272"/>
                    <a:pt x="1529339" y="28270"/>
                    <a:pt x="1740350" y="2108"/>
                  </a:cubicBezTo>
                  <a:cubicBezTo>
                    <a:pt x="1776799" y="-2400"/>
                    <a:pt x="1804294" y="8998"/>
                    <a:pt x="1822836" y="36303"/>
                  </a:cubicBezTo>
                  <a:cubicBezTo>
                    <a:pt x="1831218" y="48622"/>
                    <a:pt x="1836902" y="74149"/>
                    <a:pt x="1839886" y="112884"/>
                  </a:cubicBezTo>
                  <a:cubicBezTo>
                    <a:pt x="1844839" y="177591"/>
                    <a:pt x="1848077" y="218262"/>
                    <a:pt x="1849602" y="234899"/>
                  </a:cubicBezTo>
                  <a:cubicBezTo>
                    <a:pt x="1853221" y="274333"/>
                    <a:pt x="1859444" y="314528"/>
                    <a:pt x="1868271" y="355486"/>
                  </a:cubicBezTo>
                  <a:cubicBezTo>
                    <a:pt x="1872081" y="373012"/>
                    <a:pt x="1959679" y="799478"/>
                    <a:pt x="2131065" y="1634884"/>
                  </a:cubicBezTo>
                  <a:cubicBezTo>
                    <a:pt x="2131764" y="1638059"/>
                    <a:pt x="2131542" y="1641139"/>
                    <a:pt x="2130399" y="1644123"/>
                  </a:cubicBezTo>
                  <a:cubicBezTo>
                    <a:pt x="2128684" y="1648632"/>
                    <a:pt x="2129541" y="1652664"/>
                    <a:pt x="2132970" y="1656220"/>
                  </a:cubicBezTo>
                  <a:cubicBezTo>
                    <a:pt x="2135129" y="1658506"/>
                    <a:pt x="2136082" y="1661173"/>
                    <a:pt x="2135828" y="1664221"/>
                  </a:cubicBezTo>
                  <a:cubicBezTo>
                    <a:pt x="2134050" y="1689303"/>
                    <a:pt x="2124715" y="1709560"/>
                    <a:pt x="2107824" y="1724991"/>
                  </a:cubicBezTo>
                  <a:cubicBezTo>
                    <a:pt x="2095378" y="1736357"/>
                    <a:pt x="2078487" y="1747946"/>
                    <a:pt x="2057151" y="1759757"/>
                  </a:cubicBezTo>
                  <a:cubicBezTo>
                    <a:pt x="1975554" y="1805096"/>
                    <a:pt x="1884907" y="1839894"/>
                    <a:pt x="1785213" y="1864151"/>
                  </a:cubicBezTo>
                  <a:cubicBezTo>
                    <a:pt x="1675802" y="1890757"/>
                    <a:pt x="1564582" y="1906283"/>
                    <a:pt x="1451552" y="1910728"/>
                  </a:cubicBezTo>
                  <a:close/>
                  <a:moveTo>
                    <a:pt x="1067218" y="1231596"/>
                  </a:moveTo>
                  <a:cubicBezTo>
                    <a:pt x="1079855" y="1231723"/>
                    <a:pt x="1087729" y="1239057"/>
                    <a:pt x="1090840" y="1253598"/>
                  </a:cubicBezTo>
                  <a:cubicBezTo>
                    <a:pt x="1105889" y="1324083"/>
                    <a:pt x="1144656" y="1508138"/>
                    <a:pt x="1207140" y="1805763"/>
                  </a:cubicBezTo>
                  <a:cubicBezTo>
                    <a:pt x="1209426" y="1816621"/>
                    <a:pt x="1212157" y="1824368"/>
                    <a:pt x="1215332" y="1829004"/>
                  </a:cubicBezTo>
                  <a:cubicBezTo>
                    <a:pt x="1220539" y="1836751"/>
                    <a:pt x="1227714" y="1841640"/>
                    <a:pt x="1236858" y="1843672"/>
                  </a:cubicBezTo>
                  <a:cubicBezTo>
                    <a:pt x="1286833" y="1854467"/>
                    <a:pt x="1333569" y="1860468"/>
                    <a:pt x="1377066" y="1861674"/>
                  </a:cubicBezTo>
                  <a:cubicBezTo>
                    <a:pt x="1515750" y="1865421"/>
                    <a:pt x="1653418" y="1849546"/>
                    <a:pt x="1790070" y="1814049"/>
                  </a:cubicBezTo>
                  <a:cubicBezTo>
                    <a:pt x="1877637" y="1791316"/>
                    <a:pt x="1959552" y="1759090"/>
                    <a:pt x="2035815" y="1717371"/>
                  </a:cubicBezTo>
                  <a:cubicBezTo>
                    <a:pt x="2052706" y="1708100"/>
                    <a:pt x="2067692" y="1697400"/>
                    <a:pt x="2080773" y="1685271"/>
                  </a:cubicBezTo>
                  <a:cubicBezTo>
                    <a:pt x="2083059" y="1683112"/>
                    <a:pt x="2084520" y="1680509"/>
                    <a:pt x="2085155" y="1677461"/>
                  </a:cubicBezTo>
                  <a:cubicBezTo>
                    <a:pt x="2086933" y="1668507"/>
                    <a:pt x="2086901" y="1659205"/>
                    <a:pt x="2085060" y="1649553"/>
                  </a:cubicBezTo>
                  <a:cubicBezTo>
                    <a:pt x="2076868" y="1607960"/>
                    <a:pt x="1988444" y="1176382"/>
                    <a:pt x="1819788" y="354819"/>
                  </a:cubicBezTo>
                  <a:cubicBezTo>
                    <a:pt x="1809120" y="303067"/>
                    <a:pt x="1802675" y="258172"/>
                    <a:pt x="1800452" y="220136"/>
                  </a:cubicBezTo>
                  <a:cubicBezTo>
                    <a:pt x="1798293" y="183814"/>
                    <a:pt x="1794515" y="138665"/>
                    <a:pt x="1789118" y="84690"/>
                  </a:cubicBezTo>
                  <a:cubicBezTo>
                    <a:pt x="1786324" y="56814"/>
                    <a:pt x="1773592" y="44463"/>
                    <a:pt x="1750923" y="47638"/>
                  </a:cubicBezTo>
                  <a:cubicBezTo>
                    <a:pt x="1585505" y="71069"/>
                    <a:pt x="1409070" y="85293"/>
                    <a:pt x="1221618" y="90310"/>
                  </a:cubicBezTo>
                  <a:cubicBezTo>
                    <a:pt x="998987" y="96279"/>
                    <a:pt x="786453" y="90500"/>
                    <a:pt x="584015" y="72974"/>
                  </a:cubicBezTo>
                  <a:cubicBezTo>
                    <a:pt x="525277" y="67894"/>
                    <a:pt x="459618" y="59322"/>
                    <a:pt x="387038" y="47257"/>
                  </a:cubicBezTo>
                  <a:cubicBezTo>
                    <a:pt x="369185" y="44298"/>
                    <a:pt x="352314" y="56371"/>
                    <a:pt x="349354" y="74224"/>
                  </a:cubicBezTo>
                  <a:cubicBezTo>
                    <a:pt x="349214" y="75073"/>
                    <a:pt x="349106" y="75927"/>
                    <a:pt x="349033" y="76784"/>
                  </a:cubicBezTo>
                  <a:lnTo>
                    <a:pt x="335222" y="236995"/>
                  </a:lnTo>
                  <a:cubicBezTo>
                    <a:pt x="333507" y="257442"/>
                    <a:pt x="330586" y="277699"/>
                    <a:pt x="326459" y="297765"/>
                  </a:cubicBezTo>
                  <a:cubicBezTo>
                    <a:pt x="170820" y="1055637"/>
                    <a:pt x="78332" y="1506233"/>
                    <a:pt x="48995" y="1649553"/>
                  </a:cubicBezTo>
                  <a:cubicBezTo>
                    <a:pt x="47598" y="1656411"/>
                    <a:pt x="48360" y="1665364"/>
                    <a:pt x="51281" y="1676413"/>
                  </a:cubicBezTo>
                  <a:cubicBezTo>
                    <a:pt x="53377" y="1684414"/>
                    <a:pt x="58711" y="1690986"/>
                    <a:pt x="67283" y="1696130"/>
                  </a:cubicBezTo>
                  <a:cubicBezTo>
                    <a:pt x="91413" y="1710608"/>
                    <a:pt x="108019" y="1719752"/>
                    <a:pt x="117099" y="1723562"/>
                  </a:cubicBezTo>
                  <a:cubicBezTo>
                    <a:pt x="206317" y="1760646"/>
                    <a:pt x="302551" y="1791348"/>
                    <a:pt x="405802" y="1815669"/>
                  </a:cubicBezTo>
                  <a:cubicBezTo>
                    <a:pt x="546105" y="1848816"/>
                    <a:pt x="678979" y="1869485"/>
                    <a:pt x="812901" y="1858817"/>
                  </a:cubicBezTo>
                  <a:cubicBezTo>
                    <a:pt x="842999" y="1856404"/>
                    <a:pt x="872051" y="1851324"/>
                    <a:pt x="900054" y="1843577"/>
                  </a:cubicBezTo>
                  <a:cubicBezTo>
                    <a:pt x="913380" y="1839894"/>
                    <a:pt x="923529" y="1829046"/>
                    <a:pt x="926343" y="1815478"/>
                  </a:cubicBezTo>
                  <a:cubicBezTo>
                    <a:pt x="991685" y="1499566"/>
                    <a:pt x="1031277" y="1311732"/>
                    <a:pt x="1045120" y="1251979"/>
                  </a:cubicBezTo>
                  <a:cubicBezTo>
                    <a:pt x="1048295" y="1238199"/>
                    <a:pt x="1055661" y="1231405"/>
                    <a:pt x="1067218" y="1231596"/>
                  </a:cubicBezTo>
                  <a:close/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0" name="Free-form: Shape 719">
              <a:extLst>
                <a:ext uri="{FF2B5EF4-FFF2-40B4-BE49-F238E27FC236}">
                  <a16:creationId xmlns:a16="http://schemas.microsoft.com/office/drawing/2014/main" id="{57EFB0FD-3543-495D-6DBF-A1C3D39E2582}"/>
                </a:ext>
              </a:extLst>
            </p:cNvPr>
            <p:cNvSpPr/>
            <p:nvPr/>
          </p:nvSpPr>
          <p:spPr>
            <a:xfrm>
              <a:off x="7908521" y="5854892"/>
              <a:ext cx="498785" cy="770046"/>
            </a:xfrm>
            <a:custGeom>
              <a:avLst/>
              <a:gdLst>
                <a:gd name="connsiteX0" fmla="*/ 265855 w 498785"/>
                <a:gd name="connsiteY0" fmla="*/ 274921 h 770046"/>
                <a:gd name="connsiteX1" fmla="*/ 263837 w 498785"/>
                <a:gd name="connsiteY1" fmla="*/ 272226 h 770046"/>
                <a:gd name="connsiteX2" fmla="*/ 262997 w 498785"/>
                <a:gd name="connsiteY2" fmla="*/ 272255 h 770046"/>
                <a:gd name="connsiteX3" fmla="*/ 93452 w 498785"/>
                <a:gd name="connsiteY3" fmla="*/ 311021 h 770046"/>
                <a:gd name="connsiteX4" fmla="*/ 32206 w 498785"/>
                <a:gd name="connsiteY4" fmla="*/ 273207 h 770046"/>
                <a:gd name="connsiteX5" fmla="*/ 964 w 498785"/>
                <a:gd name="connsiteY5" fmla="*/ 142810 h 770046"/>
                <a:gd name="connsiteX6" fmla="*/ 2679 w 498785"/>
                <a:gd name="connsiteY6" fmla="*/ 116140 h 770046"/>
                <a:gd name="connsiteX7" fmla="*/ 27920 w 498785"/>
                <a:gd name="connsiteY7" fmla="*/ 91470 h 770046"/>
                <a:gd name="connsiteX8" fmla="*/ 40684 w 498785"/>
                <a:gd name="connsiteY8" fmla="*/ 85279 h 770046"/>
                <a:gd name="connsiteX9" fmla="*/ 405586 w 498785"/>
                <a:gd name="connsiteY9" fmla="*/ 1840 h 770046"/>
                <a:gd name="connsiteX10" fmla="*/ 453402 w 498785"/>
                <a:gd name="connsiteY10" fmla="*/ 13174 h 770046"/>
                <a:gd name="connsiteX11" fmla="*/ 471118 w 498785"/>
                <a:gd name="connsiteY11" fmla="*/ 53846 h 770046"/>
                <a:gd name="connsiteX12" fmla="*/ 495598 w 498785"/>
                <a:gd name="connsiteY12" fmla="*/ 159383 h 770046"/>
                <a:gd name="connsiteX13" fmla="*/ 496931 w 498785"/>
                <a:gd name="connsiteY13" fmla="*/ 209389 h 770046"/>
                <a:gd name="connsiteX14" fmla="*/ 416826 w 498785"/>
                <a:gd name="connsiteY14" fmla="*/ 691640 h 770046"/>
                <a:gd name="connsiteX15" fmla="*/ 394347 w 498785"/>
                <a:gd name="connsiteY15" fmla="*/ 727359 h 770046"/>
                <a:gd name="connsiteX16" fmla="*/ 357199 w 498785"/>
                <a:gd name="connsiteY16" fmla="*/ 742599 h 770046"/>
                <a:gd name="connsiteX17" fmla="*/ 243090 w 498785"/>
                <a:gd name="connsiteY17" fmla="*/ 768412 h 770046"/>
                <a:gd name="connsiteX18" fmla="*/ 196132 w 498785"/>
                <a:gd name="connsiteY18" fmla="*/ 748123 h 770046"/>
                <a:gd name="connsiteX19" fmla="*/ 194131 w 498785"/>
                <a:gd name="connsiteY19" fmla="*/ 704689 h 770046"/>
                <a:gd name="connsiteX20" fmla="*/ 265855 w 498785"/>
                <a:gd name="connsiteY20" fmla="*/ 274921 h 770046"/>
                <a:gd name="connsiteX21" fmla="*/ 301954 w 498785"/>
                <a:gd name="connsiteY21" fmla="*/ 217105 h 770046"/>
                <a:gd name="connsiteX22" fmla="*/ 318337 w 498785"/>
                <a:gd name="connsiteY22" fmla="*/ 248251 h 770046"/>
                <a:gd name="connsiteX23" fmla="*/ 241090 w 498785"/>
                <a:gd name="connsiteY23" fmla="*/ 715738 h 770046"/>
                <a:gd name="connsiteX24" fmla="*/ 244804 w 498785"/>
                <a:gd name="connsiteY24" fmla="*/ 719168 h 770046"/>
                <a:gd name="connsiteX25" fmla="*/ 362248 w 498785"/>
                <a:gd name="connsiteY25" fmla="*/ 692307 h 770046"/>
                <a:gd name="connsiteX26" fmla="*/ 369677 w 498785"/>
                <a:gd name="connsiteY26" fmla="*/ 684401 h 770046"/>
                <a:gd name="connsiteX27" fmla="*/ 446925 w 498785"/>
                <a:gd name="connsiteY27" fmla="*/ 219772 h 770046"/>
                <a:gd name="connsiteX28" fmla="*/ 447592 w 498785"/>
                <a:gd name="connsiteY28" fmla="*/ 163098 h 770046"/>
                <a:gd name="connsiteX29" fmla="*/ 421779 w 498785"/>
                <a:gd name="connsiteY29" fmla="*/ 53275 h 770046"/>
                <a:gd name="connsiteX30" fmla="*/ 414445 w 498785"/>
                <a:gd name="connsiteY30" fmla="*/ 48703 h 770046"/>
                <a:gd name="connsiteX31" fmla="*/ 52399 w 498785"/>
                <a:gd name="connsiteY31" fmla="*/ 131475 h 770046"/>
                <a:gd name="connsiteX32" fmla="*/ 48283 w 498785"/>
                <a:gd name="connsiteY32" fmla="*/ 137956 h 770046"/>
                <a:gd name="connsiteX33" fmla="*/ 48304 w 498785"/>
                <a:gd name="connsiteY33" fmla="*/ 138047 h 770046"/>
                <a:gd name="connsiteX34" fmla="*/ 76307 w 498785"/>
                <a:gd name="connsiteY34" fmla="*/ 260348 h 770046"/>
                <a:gd name="connsiteX35" fmla="*/ 82689 w 498785"/>
                <a:gd name="connsiteY35" fmla="*/ 264444 h 770046"/>
                <a:gd name="connsiteX36" fmla="*/ 280047 w 498785"/>
                <a:gd name="connsiteY36" fmla="*/ 218533 h 770046"/>
                <a:gd name="connsiteX37" fmla="*/ 301954 w 498785"/>
                <a:gd name="connsiteY37" fmla="*/ 217105 h 770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98785" h="770046">
                  <a:moveTo>
                    <a:pt x="265855" y="274921"/>
                  </a:moveTo>
                  <a:cubicBezTo>
                    <a:pt x="266042" y="273620"/>
                    <a:pt x="265138" y="272413"/>
                    <a:pt x="263837" y="272226"/>
                  </a:cubicBezTo>
                  <a:cubicBezTo>
                    <a:pt x="263557" y="272185"/>
                    <a:pt x="263273" y="272195"/>
                    <a:pt x="262997" y="272255"/>
                  </a:cubicBezTo>
                  <a:cubicBezTo>
                    <a:pt x="200704" y="286669"/>
                    <a:pt x="144189" y="299591"/>
                    <a:pt x="93452" y="311021"/>
                  </a:cubicBezTo>
                  <a:cubicBezTo>
                    <a:pt x="61893" y="318133"/>
                    <a:pt x="41477" y="305528"/>
                    <a:pt x="32206" y="273207"/>
                  </a:cubicBezTo>
                  <a:cubicBezTo>
                    <a:pt x="18617" y="225772"/>
                    <a:pt x="8203" y="182307"/>
                    <a:pt x="964" y="142810"/>
                  </a:cubicBezTo>
                  <a:cubicBezTo>
                    <a:pt x="-750" y="133475"/>
                    <a:pt x="-179" y="124585"/>
                    <a:pt x="2679" y="116140"/>
                  </a:cubicBezTo>
                  <a:cubicBezTo>
                    <a:pt x="6394" y="105091"/>
                    <a:pt x="18300" y="99185"/>
                    <a:pt x="27920" y="91470"/>
                  </a:cubicBezTo>
                  <a:cubicBezTo>
                    <a:pt x="31794" y="88422"/>
                    <a:pt x="36048" y="86358"/>
                    <a:pt x="40684" y="85279"/>
                  </a:cubicBezTo>
                  <a:cubicBezTo>
                    <a:pt x="135235" y="63689"/>
                    <a:pt x="256869" y="35876"/>
                    <a:pt x="405586" y="1840"/>
                  </a:cubicBezTo>
                  <a:cubicBezTo>
                    <a:pt x="425525" y="-2669"/>
                    <a:pt x="441464" y="1109"/>
                    <a:pt x="453402" y="13174"/>
                  </a:cubicBezTo>
                  <a:cubicBezTo>
                    <a:pt x="460641" y="20540"/>
                    <a:pt x="466546" y="34098"/>
                    <a:pt x="471118" y="53846"/>
                  </a:cubicBezTo>
                  <a:cubicBezTo>
                    <a:pt x="476770" y="78611"/>
                    <a:pt x="484930" y="113790"/>
                    <a:pt x="495598" y="159383"/>
                  </a:cubicBezTo>
                  <a:cubicBezTo>
                    <a:pt x="499344" y="175512"/>
                    <a:pt x="499789" y="192181"/>
                    <a:pt x="496931" y="209389"/>
                  </a:cubicBezTo>
                  <a:cubicBezTo>
                    <a:pt x="479850" y="311243"/>
                    <a:pt x="453148" y="471994"/>
                    <a:pt x="416826" y="691640"/>
                  </a:cubicBezTo>
                  <a:cubicBezTo>
                    <a:pt x="414794" y="704150"/>
                    <a:pt x="407301" y="716056"/>
                    <a:pt x="394347" y="727359"/>
                  </a:cubicBezTo>
                  <a:cubicBezTo>
                    <a:pt x="387171" y="733582"/>
                    <a:pt x="374789" y="738662"/>
                    <a:pt x="357199" y="742599"/>
                  </a:cubicBezTo>
                  <a:cubicBezTo>
                    <a:pt x="335165" y="747425"/>
                    <a:pt x="297128" y="756029"/>
                    <a:pt x="243090" y="768412"/>
                  </a:cubicBezTo>
                  <a:cubicBezTo>
                    <a:pt x="220992" y="773492"/>
                    <a:pt x="205339" y="766729"/>
                    <a:pt x="196132" y="748123"/>
                  </a:cubicBezTo>
                  <a:cubicBezTo>
                    <a:pt x="191433" y="738598"/>
                    <a:pt x="190766" y="724121"/>
                    <a:pt x="194131" y="704689"/>
                  </a:cubicBezTo>
                  <a:cubicBezTo>
                    <a:pt x="196925" y="688624"/>
                    <a:pt x="220833" y="545368"/>
                    <a:pt x="265855" y="274921"/>
                  </a:cubicBezTo>
                  <a:close/>
                  <a:moveTo>
                    <a:pt x="301954" y="217105"/>
                  </a:moveTo>
                  <a:cubicBezTo>
                    <a:pt x="315289" y="223137"/>
                    <a:pt x="320750" y="233519"/>
                    <a:pt x="318337" y="248251"/>
                  </a:cubicBezTo>
                  <a:cubicBezTo>
                    <a:pt x="271030" y="532922"/>
                    <a:pt x="245281" y="688751"/>
                    <a:pt x="241090" y="715738"/>
                  </a:cubicBezTo>
                  <a:cubicBezTo>
                    <a:pt x="240645" y="718723"/>
                    <a:pt x="241883" y="719866"/>
                    <a:pt x="244804" y="719168"/>
                  </a:cubicBezTo>
                  <a:lnTo>
                    <a:pt x="362248" y="692307"/>
                  </a:lnTo>
                  <a:cubicBezTo>
                    <a:pt x="366094" y="691457"/>
                    <a:pt x="369037" y="688325"/>
                    <a:pt x="369677" y="684401"/>
                  </a:cubicBezTo>
                  <a:cubicBezTo>
                    <a:pt x="405682" y="466914"/>
                    <a:pt x="431431" y="312037"/>
                    <a:pt x="446925" y="219772"/>
                  </a:cubicBezTo>
                  <a:cubicBezTo>
                    <a:pt x="450925" y="196340"/>
                    <a:pt x="451148" y="177449"/>
                    <a:pt x="447592" y="163098"/>
                  </a:cubicBezTo>
                  <a:cubicBezTo>
                    <a:pt x="439210" y="128808"/>
                    <a:pt x="430605" y="92200"/>
                    <a:pt x="421779" y="53275"/>
                  </a:cubicBezTo>
                  <a:cubicBezTo>
                    <a:pt x="420890" y="49274"/>
                    <a:pt x="418445" y="47750"/>
                    <a:pt x="414445" y="48703"/>
                  </a:cubicBezTo>
                  <a:lnTo>
                    <a:pt x="52399" y="131475"/>
                  </a:lnTo>
                  <a:cubicBezTo>
                    <a:pt x="49473" y="132128"/>
                    <a:pt x="47630" y="135029"/>
                    <a:pt x="48283" y="137956"/>
                  </a:cubicBezTo>
                  <a:cubicBezTo>
                    <a:pt x="48289" y="137986"/>
                    <a:pt x="48296" y="138017"/>
                    <a:pt x="48304" y="138047"/>
                  </a:cubicBezTo>
                  <a:lnTo>
                    <a:pt x="76307" y="260348"/>
                  </a:lnTo>
                  <a:cubicBezTo>
                    <a:pt x="77069" y="263777"/>
                    <a:pt x="79196" y="265142"/>
                    <a:pt x="82689" y="264444"/>
                  </a:cubicBezTo>
                  <a:cubicBezTo>
                    <a:pt x="136664" y="252887"/>
                    <a:pt x="202450" y="237583"/>
                    <a:pt x="280047" y="218533"/>
                  </a:cubicBezTo>
                  <a:cubicBezTo>
                    <a:pt x="290905" y="215866"/>
                    <a:pt x="298208" y="215390"/>
                    <a:pt x="301954" y="217105"/>
                  </a:cubicBezTo>
                  <a:close/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1" name="Free-form: Shape 720">
              <a:extLst>
                <a:ext uri="{FF2B5EF4-FFF2-40B4-BE49-F238E27FC236}">
                  <a16:creationId xmlns:a16="http://schemas.microsoft.com/office/drawing/2014/main" id="{A3F4727B-37FE-FC9A-8679-04C6C8BCAE45}"/>
                </a:ext>
              </a:extLst>
            </p:cNvPr>
            <p:cNvSpPr/>
            <p:nvPr/>
          </p:nvSpPr>
          <p:spPr>
            <a:xfrm>
              <a:off x="6689765" y="6235323"/>
              <a:ext cx="293148" cy="326713"/>
            </a:xfrm>
            <a:custGeom>
              <a:avLst/>
              <a:gdLst>
                <a:gd name="connsiteX0" fmla="*/ 19855 w 293148"/>
                <a:gd name="connsiteY0" fmla="*/ 104231 h 326713"/>
                <a:gd name="connsiteX1" fmla="*/ 27094 w 293148"/>
                <a:gd name="connsiteY1" fmla="*/ 25459 h 326713"/>
                <a:gd name="connsiteX2" fmla="*/ 42239 w 293148"/>
                <a:gd name="connsiteY2" fmla="*/ 1361 h 326713"/>
                <a:gd name="connsiteX3" fmla="*/ 65861 w 293148"/>
                <a:gd name="connsiteY3" fmla="*/ 4409 h 326713"/>
                <a:gd name="connsiteX4" fmla="*/ 137489 w 293148"/>
                <a:gd name="connsiteY4" fmla="*/ 8409 h 326713"/>
                <a:gd name="connsiteX5" fmla="*/ 168922 w 293148"/>
                <a:gd name="connsiteY5" fmla="*/ 4504 h 326713"/>
                <a:gd name="connsiteX6" fmla="*/ 177589 w 293148"/>
                <a:gd name="connsiteY6" fmla="*/ 7742 h 326713"/>
                <a:gd name="connsiteX7" fmla="*/ 273697 w 293148"/>
                <a:gd name="connsiteY7" fmla="*/ 51653 h 326713"/>
                <a:gd name="connsiteX8" fmla="*/ 292987 w 293148"/>
                <a:gd name="connsiteY8" fmla="*/ 76240 h 326713"/>
                <a:gd name="connsiteX9" fmla="*/ 290365 w 293148"/>
                <a:gd name="connsiteY9" fmla="*/ 84324 h 326713"/>
                <a:gd name="connsiteX10" fmla="*/ 267029 w 293148"/>
                <a:gd name="connsiteY10" fmla="*/ 188432 h 326713"/>
                <a:gd name="connsiteX11" fmla="*/ 262743 w 293148"/>
                <a:gd name="connsiteY11" fmla="*/ 238247 h 326713"/>
                <a:gd name="connsiteX12" fmla="*/ 233120 w 293148"/>
                <a:gd name="connsiteY12" fmla="*/ 281110 h 326713"/>
                <a:gd name="connsiteX13" fmla="*/ 175684 w 293148"/>
                <a:gd name="connsiteY13" fmla="*/ 308542 h 326713"/>
                <a:gd name="connsiteX14" fmla="*/ 111200 w 293148"/>
                <a:gd name="connsiteY14" fmla="*/ 326449 h 326713"/>
                <a:gd name="connsiteX15" fmla="*/ 105295 w 293148"/>
                <a:gd name="connsiteY15" fmla="*/ 324925 h 326713"/>
                <a:gd name="connsiteX16" fmla="*/ 56336 w 293148"/>
                <a:gd name="connsiteY16" fmla="*/ 280824 h 326713"/>
                <a:gd name="connsiteX17" fmla="*/ 139 w 293148"/>
                <a:gd name="connsiteY17" fmla="*/ 183860 h 326713"/>
                <a:gd name="connsiteX18" fmla="*/ 7282 w 293148"/>
                <a:gd name="connsiteY18" fmla="*/ 143569 h 326713"/>
                <a:gd name="connsiteX19" fmla="*/ 19855 w 293148"/>
                <a:gd name="connsiteY19" fmla="*/ 104231 h 326713"/>
                <a:gd name="connsiteX20" fmla="*/ 233120 w 293148"/>
                <a:gd name="connsiteY20" fmla="*/ 96420 h 326713"/>
                <a:gd name="connsiteX21" fmla="*/ 231501 w 293148"/>
                <a:gd name="connsiteY21" fmla="*/ 93753 h 326713"/>
                <a:gd name="connsiteX22" fmla="*/ 164826 w 293148"/>
                <a:gd name="connsiteY22" fmla="*/ 59082 h 326713"/>
                <a:gd name="connsiteX23" fmla="*/ 153110 w 293148"/>
                <a:gd name="connsiteY23" fmla="*/ 55939 h 326713"/>
                <a:gd name="connsiteX24" fmla="*/ 81768 w 293148"/>
                <a:gd name="connsiteY24" fmla="*/ 59654 h 326713"/>
                <a:gd name="connsiteX25" fmla="*/ 75672 w 293148"/>
                <a:gd name="connsiteY25" fmla="*/ 63178 h 326713"/>
                <a:gd name="connsiteX26" fmla="*/ 69385 w 293148"/>
                <a:gd name="connsiteY26" fmla="*/ 113851 h 326713"/>
                <a:gd name="connsiteX27" fmla="*/ 53193 w 293148"/>
                <a:gd name="connsiteY27" fmla="*/ 156523 h 326713"/>
                <a:gd name="connsiteX28" fmla="*/ 50431 w 293148"/>
                <a:gd name="connsiteY28" fmla="*/ 193480 h 326713"/>
                <a:gd name="connsiteX29" fmla="*/ 67290 w 293148"/>
                <a:gd name="connsiteY29" fmla="*/ 228437 h 326713"/>
                <a:gd name="connsiteX30" fmla="*/ 116915 w 293148"/>
                <a:gd name="connsiteY30" fmla="*/ 269108 h 326713"/>
                <a:gd name="connsiteX31" fmla="*/ 125107 w 293148"/>
                <a:gd name="connsiteY31" fmla="*/ 271204 h 326713"/>
                <a:gd name="connsiteX32" fmla="*/ 181685 w 293148"/>
                <a:gd name="connsiteY32" fmla="*/ 257774 h 326713"/>
                <a:gd name="connsiteX33" fmla="*/ 216261 w 293148"/>
                <a:gd name="connsiteY33" fmla="*/ 223769 h 326713"/>
                <a:gd name="connsiteX34" fmla="*/ 219595 w 293148"/>
                <a:gd name="connsiteY34" fmla="*/ 178811 h 326713"/>
                <a:gd name="connsiteX35" fmla="*/ 233120 w 293148"/>
                <a:gd name="connsiteY35" fmla="*/ 96420 h 32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93148" h="326713">
                  <a:moveTo>
                    <a:pt x="19855" y="104231"/>
                  </a:moveTo>
                  <a:cubicBezTo>
                    <a:pt x="27158" y="81434"/>
                    <a:pt x="29571" y="55177"/>
                    <a:pt x="27094" y="25459"/>
                  </a:cubicBezTo>
                  <a:cubicBezTo>
                    <a:pt x="26142" y="14664"/>
                    <a:pt x="31190" y="6631"/>
                    <a:pt x="42239" y="1361"/>
                  </a:cubicBezTo>
                  <a:cubicBezTo>
                    <a:pt x="47510" y="-1179"/>
                    <a:pt x="55384" y="-163"/>
                    <a:pt x="65861" y="4409"/>
                  </a:cubicBezTo>
                  <a:cubicBezTo>
                    <a:pt x="86245" y="13235"/>
                    <a:pt x="110121" y="14569"/>
                    <a:pt x="137489" y="8409"/>
                  </a:cubicBezTo>
                  <a:cubicBezTo>
                    <a:pt x="150062" y="5552"/>
                    <a:pt x="160540" y="4250"/>
                    <a:pt x="168922" y="4504"/>
                  </a:cubicBezTo>
                  <a:cubicBezTo>
                    <a:pt x="172160" y="4631"/>
                    <a:pt x="175049" y="5710"/>
                    <a:pt x="177589" y="7742"/>
                  </a:cubicBezTo>
                  <a:cubicBezTo>
                    <a:pt x="207879" y="32825"/>
                    <a:pt x="239915" y="47462"/>
                    <a:pt x="273697" y="51653"/>
                  </a:cubicBezTo>
                  <a:cubicBezTo>
                    <a:pt x="285813" y="53115"/>
                    <a:pt x="294450" y="64123"/>
                    <a:pt x="292987" y="76240"/>
                  </a:cubicBezTo>
                  <a:cubicBezTo>
                    <a:pt x="292644" y="79078"/>
                    <a:pt x="291754" y="81824"/>
                    <a:pt x="290365" y="84324"/>
                  </a:cubicBezTo>
                  <a:cubicBezTo>
                    <a:pt x="273157" y="115566"/>
                    <a:pt x="265378" y="150268"/>
                    <a:pt x="267029" y="188432"/>
                  </a:cubicBezTo>
                  <a:cubicBezTo>
                    <a:pt x="267982" y="211482"/>
                    <a:pt x="266553" y="228087"/>
                    <a:pt x="262743" y="238247"/>
                  </a:cubicBezTo>
                  <a:cubicBezTo>
                    <a:pt x="257472" y="252154"/>
                    <a:pt x="247598" y="266441"/>
                    <a:pt x="233120" y="281110"/>
                  </a:cubicBezTo>
                  <a:cubicBezTo>
                    <a:pt x="221944" y="292413"/>
                    <a:pt x="202799" y="301557"/>
                    <a:pt x="175684" y="308542"/>
                  </a:cubicBezTo>
                  <a:cubicBezTo>
                    <a:pt x="156825" y="313432"/>
                    <a:pt x="135330" y="319400"/>
                    <a:pt x="111200" y="326449"/>
                  </a:cubicBezTo>
                  <a:cubicBezTo>
                    <a:pt x="108914" y="327084"/>
                    <a:pt x="106946" y="326576"/>
                    <a:pt x="105295" y="324925"/>
                  </a:cubicBezTo>
                  <a:cubicBezTo>
                    <a:pt x="84530" y="303907"/>
                    <a:pt x="68211" y="289206"/>
                    <a:pt x="56336" y="280824"/>
                  </a:cubicBezTo>
                  <a:cubicBezTo>
                    <a:pt x="22999" y="257202"/>
                    <a:pt x="2901" y="223388"/>
                    <a:pt x="139" y="183860"/>
                  </a:cubicBezTo>
                  <a:cubicBezTo>
                    <a:pt x="-623" y="172874"/>
                    <a:pt x="1758" y="159444"/>
                    <a:pt x="7282" y="143569"/>
                  </a:cubicBezTo>
                  <a:cubicBezTo>
                    <a:pt x="8108" y="141092"/>
                    <a:pt x="12299" y="127980"/>
                    <a:pt x="19855" y="104231"/>
                  </a:cubicBezTo>
                  <a:close/>
                  <a:moveTo>
                    <a:pt x="233120" y="96420"/>
                  </a:moveTo>
                  <a:cubicBezTo>
                    <a:pt x="233501" y="95404"/>
                    <a:pt x="232961" y="94515"/>
                    <a:pt x="231501" y="93753"/>
                  </a:cubicBezTo>
                  <a:lnTo>
                    <a:pt x="164826" y="59082"/>
                  </a:lnTo>
                  <a:cubicBezTo>
                    <a:pt x="160558" y="56854"/>
                    <a:pt x="156453" y="55752"/>
                    <a:pt x="153110" y="55939"/>
                  </a:cubicBezTo>
                  <a:lnTo>
                    <a:pt x="81768" y="59654"/>
                  </a:lnTo>
                  <a:cubicBezTo>
                    <a:pt x="77894" y="59844"/>
                    <a:pt x="75862" y="61019"/>
                    <a:pt x="75672" y="63178"/>
                  </a:cubicBezTo>
                  <a:cubicBezTo>
                    <a:pt x="73449" y="92134"/>
                    <a:pt x="71354" y="109025"/>
                    <a:pt x="69385" y="113851"/>
                  </a:cubicBezTo>
                  <a:cubicBezTo>
                    <a:pt x="66147" y="121661"/>
                    <a:pt x="60749" y="135885"/>
                    <a:pt x="53193" y="156523"/>
                  </a:cubicBezTo>
                  <a:cubicBezTo>
                    <a:pt x="48113" y="170302"/>
                    <a:pt x="47192" y="182621"/>
                    <a:pt x="50431" y="193480"/>
                  </a:cubicBezTo>
                  <a:cubicBezTo>
                    <a:pt x="55955" y="212212"/>
                    <a:pt x="61575" y="223865"/>
                    <a:pt x="67290" y="228437"/>
                  </a:cubicBezTo>
                  <a:cubicBezTo>
                    <a:pt x="87610" y="244439"/>
                    <a:pt x="104152" y="257996"/>
                    <a:pt x="116915" y="269108"/>
                  </a:cubicBezTo>
                  <a:cubicBezTo>
                    <a:pt x="119328" y="271204"/>
                    <a:pt x="122059" y="271902"/>
                    <a:pt x="125107" y="271204"/>
                  </a:cubicBezTo>
                  <a:cubicBezTo>
                    <a:pt x="159016" y="263711"/>
                    <a:pt x="177875" y="259234"/>
                    <a:pt x="181685" y="257774"/>
                  </a:cubicBezTo>
                  <a:cubicBezTo>
                    <a:pt x="195338" y="252567"/>
                    <a:pt x="206863" y="241232"/>
                    <a:pt x="216261" y="223769"/>
                  </a:cubicBezTo>
                  <a:cubicBezTo>
                    <a:pt x="219817" y="217102"/>
                    <a:pt x="220928" y="202116"/>
                    <a:pt x="219595" y="178811"/>
                  </a:cubicBezTo>
                  <a:cubicBezTo>
                    <a:pt x="218071" y="151951"/>
                    <a:pt x="222579" y="124487"/>
                    <a:pt x="233120" y="96420"/>
                  </a:cubicBezTo>
                  <a:close/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044" name="Jersey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5FB38EA-7C47-B28E-4AE6-9C2874B2D365}"/>
              </a:ext>
            </a:extLst>
          </p:cNvPr>
          <p:cNvGrpSpPr>
            <a:grpSpLocks noChangeAspect="1"/>
          </p:cNvGrpSpPr>
          <p:nvPr/>
        </p:nvGrpSpPr>
        <p:grpSpPr>
          <a:xfrm>
            <a:off x="9242161" y="1941478"/>
            <a:ext cx="1976431" cy="1251253"/>
            <a:chOff x="7069404" y="4866763"/>
            <a:chExt cx="3024105" cy="1914525"/>
          </a:xfrm>
          <a:solidFill>
            <a:schemeClr val="tx1"/>
          </a:solidFill>
        </p:grpSpPr>
        <p:sp>
          <p:nvSpPr>
            <p:cNvPr id="1045" name="Free-form: Shape 796">
              <a:extLst>
                <a:ext uri="{FF2B5EF4-FFF2-40B4-BE49-F238E27FC236}">
                  <a16:creationId xmlns:a16="http://schemas.microsoft.com/office/drawing/2014/main" id="{1F9559B9-618B-A6B7-9722-CC1F5CC539E6}"/>
                </a:ext>
              </a:extLst>
            </p:cNvPr>
            <p:cNvSpPr/>
            <p:nvPr/>
          </p:nvSpPr>
          <p:spPr>
            <a:xfrm>
              <a:off x="7069404" y="4866763"/>
              <a:ext cx="3024105" cy="1914525"/>
            </a:xfrm>
            <a:custGeom>
              <a:avLst/>
              <a:gdLst>
                <a:gd name="connsiteX0" fmla="*/ 1152645 w 3024105"/>
                <a:gd name="connsiteY0" fmla="*/ 0 h 1914525"/>
                <a:gd name="connsiteX1" fmla="*/ 1212367 w 3024105"/>
                <a:gd name="connsiteY1" fmla="*/ 40767 h 1914525"/>
                <a:gd name="connsiteX2" fmla="*/ 1239323 w 3024105"/>
                <a:gd name="connsiteY2" fmla="*/ 68771 h 1914525"/>
                <a:gd name="connsiteX3" fmla="*/ 1273232 w 3024105"/>
                <a:gd name="connsiteY3" fmla="*/ 88487 h 1914525"/>
                <a:gd name="connsiteX4" fmla="*/ 1538693 w 3024105"/>
                <a:gd name="connsiteY4" fmla="*/ 135255 h 1914525"/>
                <a:gd name="connsiteX5" fmla="*/ 1751958 w 3024105"/>
                <a:gd name="connsiteY5" fmla="*/ 96965 h 1914525"/>
                <a:gd name="connsiteX6" fmla="*/ 1789391 w 3024105"/>
                <a:gd name="connsiteY6" fmla="*/ 79248 h 1914525"/>
                <a:gd name="connsiteX7" fmla="*/ 1822634 w 3024105"/>
                <a:gd name="connsiteY7" fmla="*/ 54102 h 1914525"/>
                <a:gd name="connsiteX8" fmla="*/ 1891499 w 3024105"/>
                <a:gd name="connsiteY8" fmla="*/ 0 h 1914525"/>
                <a:gd name="connsiteX9" fmla="*/ 2162676 w 3024105"/>
                <a:gd name="connsiteY9" fmla="*/ 0 h 1914525"/>
                <a:gd name="connsiteX10" fmla="*/ 2199538 w 3024105"/>
                <a:gd name="connsiteY10" fmla="*/ 14383 h 1914525"/>
                <a:gd name="connsiteX11" fmla="*/ 2951727 w 3024105"/>
                <a:gd name="connsiteY11" fmla="*/ 519875 h 1914525"/>
                <a:gd name="connsiteX12" fmla="*/ 3013259 w 3024105"/>
                <a:gd name="connsiteY12" fmla="*/ 572643 h 1914525"/>
                <a:gd name="connsiteX13" fmla="*/ 3004496 w 3024105"/>
                <a:gd name="connsiteY13" fmla="*/ 664178 h 1914525"/>
                <a:gd name="connsiteX14" fmla="*/ 2768276 w 3024105"/>
                <a:gd name="connsiteY14" fmla="*/ 1010698 h 1914525"/>
                <a:gd name="connsiteX15" fmla="*/ 2722651 w 3024105"/>
                <a:gd name="connsiteY15" fmla="*/ 1062419 h 1914525"/>
                <a:gd name="connsiteX16" fmla="*/ 2646832 w 3024105"/>
                <a:gd name="connsiteY16" fmla="*/ 1062609 h 1914525"/>
                <a:gd name="connsiteX17" fmla="*/ 2278500 w 3024105"/>
                <a:gd name="connsiteY17" fmla="*/ 878967 h 1914525"/>
                <a:gd name="connsiteX18" fmla="*/ 2272976 w 3024105"/>
                <a:gd name="connsiteY18" fmla="*/ 882301 h 1914525"/>
                <a:gd name="connsiteX19" fmla="*/ 2234114 w 3024105"/>
                <a:gd name="connsiteY19" fmla="*/ 1825276 h 1914525"/>
                <a:gd name="connsiteX20" fmla="*/ 2161819 w 3024105"/>
                <a:gd name="connsiteY20" fmla="*/ 1914525 h 1914525"/>
                <a:gd name="connsiteX21" fmla="*/ 862418 w 3024105"/>
                <a:gd name="connsiteY21" fmla="*/ 1914525 h 1914525"/>
                <a:gd name="connsiteX22" fmla="*/ 788123 w 3024105"/>
                <a:gd name="connsiteY22" fmla="*/ 1827086 h 1914525"/>
                <a:gd name="connsiteX23" fmla="*/ 749833 w 3024105"/>
                <a:gd name="connsiteY23" fmla="*/ 880682 h 1914525"/>
                <a:gd name="connsiteX24" fmla="*/ 747091 w 3024105"/>
                <a:gd name="connsiteY24" fmla="*/ 878091 h 1914525"/>
                <a:gd name="connsiteX25" fmla="*/ 745928 w 3024105"/>
                <a:gd name="connsiteY25" fmla="*/ 878395 h 1914525"/>
                <a:gd name="connsiteX26" fmla="*/ 402361 w 3024105"/>
                <a:gd name="connsiteY26" fmla="*/ 1050036 h 1914525"/>
                <a:gd name="connsiteX27" fmla="*/ 337972 w 3024105"/>
                <a:gd name="connsiteY27" fmla="*/ 1072039 h 1914525"/>
                <a:gd name="connsiteX28" fmla="*/ 272535 w 3024105"/>
                <a:gd name="connsiteY28" fmla="*/ 1036511 h 1914525"/>
                <a:gd name="connsiteX29" fmla="*/ 19456 w 3024105"/>
                <a:gd name="connsiteY29" fmla="*/ 665702 h 1914525"/>
                <a:gd name="connsiteX30" fmla="*/ 8216 w 3024105"/>
                <a:gd name="connsiteY30" fmla="*/ 577025 h 1914525"/>
                <a:gd name="connsiteX31" fmla="*/ 66319 w 3024105"/>
                <a:gd name="connsiteY31" fmla="*/ 523113 h 1914525"/>
                <a:gd name="connsiteX32" fmla="*/ 821937 w 3024105"/>
                <a:gd name="connsiteY32" fmla="*/ 15335 h 1914525"/>
                <a:gd name="connsiteX33" fmla="*/ 860323 w 3024105"/>
                <a:gd name="connsiteY33" fmla="*/ 0 h 1914525"/>
                <a:gd name="connsiteX34" fmla="*/ 1152645 w 3024105"/>
                <a:gd name="connsiteY34" fmla="*/ 0 h 1914525"/>
                <a:gd name="connsiteX35" fmla="*/ 2244877 w 3024105"/>
                <a:gd name="connsiteY35" fmla="*/ 815245 h 1914525"/>
                <a:gd name="connsiteX36" fmla="*/ 2259164 w 3024105"/>
                <a:gd name="connsiteY36" fmla="*/ 816293 h 1914525"/>
                <a:gd name="connsiteX37" fmla="*/ 2667311 w 3024105"/>
                <a:gd name="connsiteY37" fmla="*/ 1019651 h 1914525"/>
                <a:gd name="connsiteX38" fmla="*/ 2714840 w 3024105"/>
                <a:gd name="connsiteY38" fmla="*/ 1007078 h 1914525"/>
                <a:gd name="connsiteX39" fmla="*/ 2965824 w 3024105"/>
                <a:gd name="connsiteY39" fmla="*/ 633603 h 1914525"/>
                <a:gd name="connsiteX40" fmla="*/ 2955251 w 3024105"/>
                <a:gd name="connsiteY40" fmla="*/ 579596 h 1914525"/>
                <a:gd name="connsiteX41" fmla="*/ 2172582 w 3024105"/>
                <a:gd name="connsiteY41" fmla="*/ 53531 h 1914525"/>
                <a:gd name="connsiteX42" fmla="*/ 2154961 w 3024105"/>
                <a:gd name="connsiteY42" fmla="*/ 48006 h 1914525"/>
                <a:gd name="connsiteX43" fmla="*/ 1914740 w 3024105"/>
                <a:gd name="connsiteY43" fmla="*/ 47816 h 1914525"/>
                <a:gd name="connsiteX44" fmla="*/ 1882355 w 3024105"/>
                <a:gd name="connsiteY44" fmla="*/ 57817 h 1914525"/>
                <a:gd name="connsiteX45" fmla="*/ 1854733 w 3024105"/>
                <a:gd name="connsiteY45" fmla="*/ 88583 h 1914525"/>
                <a:gd name="connsiteX46" fmla="*/ 1782819 w 3024105"/>
                <a:gd name="connsiteY46" fmla="*/ 135350 h 1914525"/>
                <a:gd name="connsiteX47" fmla="*/ 1508404 w 3024105"/>
                <a:gd name="connsiteY47" fmla="*/ 182880 h 1914525"/>
                <a:gd name="connsiteX48" fmla="*/ 1262278 w 3024105"/>
                <a:gd name="connsiteY48" fmla="*/ 135636 h 1914525"/>
                <a:gd name="connsiteX49" fmla="*/ 1164837 w 3024105"/>
                <a:gd name="connsiteY49" fmla="*/ 58484 h 1914525"/>
                <a:gd name="connsiteX50" fmla="*/ 1143596 w 3024105"/>
                <a:gd name="connsiteY50" fmla="*/ 47339 h 1914525"/>
                <a:gd name="connsiteX51" fmla="*/ 870991 w 3024105"/>
                <a:gd name="connsiteY51" fmla="*/ 47339 h 1914525"/>
                <a:gd name="connsiteX52" fmla="*/ 850131 w 3024105"/>
                <a:gd name="connsiteY52" fmla="*/ 53721 h 1914525"/>
                <a:gd name="connsiteX53" fmla="*/ 62699 w 3024105"/>
                <a:gd name="connsiteY53" fmla="*/ 582930 h 1914525"/>
                <a:gd name="connsiteX54" fmla="*/ 53746 w 3024105"/>
                <a:gd name="connsiteY54" fmla="*/ 628650 h 1914525"/>
                <a:gd name="connsiteX55" fmla="*/ 307778 w 3024105"/>
                <a:gd name="connsiteY55" fmla="*/ 1006602 h 1914525"/>
                <a:gd name="connsiteX56" fmla="*/ 356831 w 3024105"/>
                <a:gd name="connsiteY56" fmla="*/ 1019556 h 1914525"/>
                <a:gd name="connsiteX57" fmla="*/ 761453 w 3024105"/>
                <a:gd name="connsiteY57" fmla="*/ 817340 h 1914525"/>
                <a:gd name="connsiteX58" fmla="*/ 793268 w 3024105"/>
                <a:gd name="connsiteY58" fmla="*/ 827965 h 1914525"/>
                <a:gd name="connsiteX59" fmla="*/ 795743 w 3024105"/>
                <a:gd name="connsiteY59" fmla="*/ 837533 h 1914525"/>
                <a:gd name="connsiteX60" fmla="*/ 836891 w 3024105"/>
                <a:gd name="connsiteY60" fmla="*/ 1835849 h 1914525"/>
                <a:gd name="connsiteX61" fmla="*/ 869086 w 3024105"/>
                <a:gd name="connsiteY61" fmla="*/ 1866805 h 1914525"/>
                <a:gd name="connsiteX62" fmla="*/ 2123433 w 3024105"/>
                <a:gd name="connsiteY62" fmla="*/ 1866900 h 1914525"/>
                <a:gd name="connsiteX63" fmla="*/ 2186584 w 3024105"/>
                <a:gd name="connsiteY63" fmla="*/ 1831277 h 1914525"/>
                <a:gd name="connsiteX64" fmla="*/ 2227160 w 3024105"/>
                <a:gd name="connsiteY64" fmla="*/ 840010 h 1914525"/>
                <a:gd name="connsiteX65" fmla="*/ 2244877 w 3024105"/>
                <a:gd name="connsiteY65" fmla="*/ 815245 h 1914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3024105" h="1914525">
                  <a:moveTo>
                    <a:pt x="1152645" y="0"/>
                  </a:moveTo>
                  <a:cubicBezTo>
                    <a:pt x="1175188" y="6541"/>
                    <a:pt x="1195095" y="20129"/>
                    <a:pt x="1212367" y="40767"/>
                  </a:cubicBezTo>
                  <a:cubicBezTo>
                    <a:pt x="1224178" y="54928"/>
                    <a:pt x="1233163" y="64262"/>
                    <a:pt x="1239323" y="68771"/>
                  </a:cubicBezTo>
                  <a:cubicBezTo>
                    <a:pt x="1249610" y="76454"/>
                    <a:pt x="1260913" y="83026"/>
                    <a:pt x="1273232" y="88487"/>
                  </a:cubicBezTo>
                  <a:cubicBezTo>
                    <a:pt x="1355147" y="125063"/>
                    <a:pt x="1446968" y="136589"/>
                    <a:pt x="1538693" y="135255"/>
                  </a:cubicBezTo>
                  <a:cubicBezTo>
                    <a:pt x="1615147" y="134112"/>
                    <a:pt x="1686236" y="121349"/>
                    <a:pt x="1751958" y="96965"/>
                  </a:cubicBezTo>
                  <a:cubicBezTo>
                    <a:pt x="1766055" y="91694"/>
                    <a:pt x="1778533" y="85789"/>
                    <a:pt x="1789391" y="79248"/>
                  </a:cubicBezTo>
                  <a:cubicBezTo>
                    <a:pt x="1807743" y="68263"/>
                    <a:pt x="1818824" y="59881"/>
                    <a:pt x="1822634" y="54102"/>
                  </a:cubicBezTo>
                  <a:cubicBezTo>
                    <a:pt x="1841303" y="26035"/>
                    <a:pt x="1864258" y="8001"/>
                    <a:pt x="1891499" y="0"/>
                  </a:cubicBezTo>
                  <a:lnTo>
                    <a:pt x="2162676" y="0"/>
                  </a:lnTo>
                  <a:cubicBezTo>
                    <a:pt x="2178107" y="3429"/>
                    <a:pt x="2190394" y="8223"/>
                    <a:pt x="2199538" y="14383"/>
                  </a:cubicBezTo>
                  <a:cubicBezTo>
                    <a:pt x="2450300" y="182785"/>
                    <a:pt x="2701029" y="351282"/>
                    <a:pt x="2951727" y="519875"/>
                  </a:cubicBezTo>
                  <a:cubicBezTo>
                    <a:pt x="2984811" y="542163"/>
                    <a:pt x="3005321" y="559753"/>
                    <a:pt x="3013259" y="572643"/>
                  </a:cubicBezTo>
                  <a:cubicBezTo>
                    <a:pt x="3030213" y="600202"/>
                    <a:pt x="3027292" y="630714"/>
                    <a:pt x="3004496" y="664178"/>
                  </a:cubicBezTo>
                  <a:cubicBezTo>
                    <a:pt x="2925692" y="779685"/>
                    <a:pt x="2846952" y="895191"/>
                    <a:pt x="2768276" y="1010698"/>
                  </a:cubicBezTo>
                  <a:cubicBezTo>
                    <a:pt x="2749607" y="1038066"/>
                    <a:pt x="2734399" y="1055307"/>
                    <a:pt x="2722651" y="1062419"/>
                  </a:cubicBezTo>
                  <a:cubicBezTo>
                    <a:pt x="2699791" y="1076325"/>
                    <a:pt x="2674518" y="1076389"/>
                    <a:pt x="2646832" y="1062609"/>
                  </a:cubicBezTo>
                  <a:cubicBezTo>
                    <a:pt x="2524023" y="1001395"/>
                    <a:pt x="2401246" y="940181"/>
                    <a:pt x="2278500" y="878967"/>
                  </a:cubicBezTo>
                  <a:cubicBezTo>
                    <a:pt x="2274944" y="877253"/>
                    <a:pt x="2273103" y="878364"/>
                    <a:pt x="2272976" y="882301"/>
                  </a:cubicBezTo>
                  <a:cubicBezTo>
                    <a:pt x="2260085" y="1196245"/>
                    <a:pt x="2247131" y="1510570"/>
                    <a:pt x="2234114" y="1825276"/>
                  </a:cubicBezTo>
                  <a:cubicBezTo>
                    <a:pt x="2232018" y="1875314"/>
                    <a:pt x="2207920" y="1905064"/>
                    <a:pt x="2161819" y="1914525"/>
                  </a:cubicBezTo>
                  <a:lnTo>
                    <a:pt x="862418" y="1914525"/>
                  </a:lnTo>
                  <a:cubicBezTo>
                    <a:pt x="814857" y="1905635"/>
                    <a:pt x="790092" y="1876489"/>
                    <a:pt x="788123" y="1827086"/>
                  </a:cubicBezTo>
                  <a:cubicBezTo>
                    <a:pt x="775614" y="1511745"/>
                    <a:pt x="762850" y="1196277"/>
                    <a:pt x="749833" y="880682"/>
                  </a:cubicBezTo>
                  <a:cubicBezTo>
                    <a:pt x="749791" y="879209"/>
                    <a:pt x="748564" y="878049"/>
                    <a:pt x="747091" y="878091"/>
                  </a:cubicBezTo>
                  <a:cubicBezTo>
                    <a:pt x="746685" y="878103"/>
                    <a:pt x="746287" y="878207"/>
                    <a:pt x="745928" y="878395"/>
                  </a:cubicBezTo>
                  <a:cubicBezTo>
                    <a:pt x="647376" y="927735"/>
                    <a:pt x="532853" y="984949"/>
                    <a:pt x="402361" y="1050036"/>
                  </a:cubicBezTo>
                  <a:cubicBezTo>
                    <a:pt x="373913" y="1064197"/>
                    <a:pt x="352450" y="1071531"/>
                    <a:pt x="337972" y="1072039"/>
                  </a:cubicBezTo>
                  <a:cubicBezTo>
                    <a:pt x="311175" y="1072928"/>
                    <a:pt x="289363" y="1061085"/>
                    <a:pt x="272535" y="1036511"/>
                  </a:cubicBezTo>
                  <a:cubicBezTo>
                    <a:pt x="163823" y="877570"/>
                    <a:pt x="79463" y="753967"/>
                    <a:pt x="19456" y="665702"/>
                  </a:cubicBezTo>
                  <a:cubicBezTo>
                    <a:pt x="-1944" y="634206"/>
                    <a:pt x="-5690" y="604647"/>
                    <a:pt x="8216" y="577025"/>
                  </a:cubicBezTo>
                  <a:cubicBezTo>
                    <a:pt x="15709" y="562102"/>
                    <a:pt x="35077" y="544132"/>
                    <a:pt x="66319" y="523113"/>
                  </a:cubicBezTo>
                  <a:cubicBezTo>
                    <a:pt x="318160" y="353759"/>
                    <a:pt x="570033" y="184499"/>
                    <a:pt x="821937" y="15335"/>
                  </a:cubicBezTo>
                  <a:cubicBezTo>
                    <a:pt x="831970" y="8604"/>
                    <a:pt x="844765" y="3493"/>
                    <a:pt x="860323" y="0"/>
                  </a:cubicBezTo>
                  <a:lnTo>
                    <a:pt x="1152645" y="0"/>
                  </a:lnTo>
                  <a:close/>
                  <a:moveTo>
                    <a:pt x="2244877" y="815245"/>
                  </a:moveTo>
                  <a:cubicBezTo>
                    <a:pt x="2249567" y="813657"/>
                    <a:pt x="2254717" y="814035"/>
                    <a:pt x="2259164" y="816293"/>
                  </a:cubicBezTo>
                  <a:lnTo>
                    <a:pt x="2667311" y="1019651"/>
                  </a:lnTo>
                  <a:cubicBezTo>
                    <a:pt x="2686805" y="1029367"/>
                    <a:pt x="2702648" y="1025176"/>
                    <a:pt x="2714840" y="1007078"/>
                  </a:cubicBezTo>
                  <a:lnTo>
                    <a:pt x="2965824" y="633603"/>
                  </a:lnTo>
                  <a:cubicBezTo>
                    <a:pt x="2980302" y="612077"/>
                    <a:pt x="2976778" y="594074"/>
                    <a:pt x="2955251" y="579596"/>
                  </a:cubicBezTo>
                  <a:lnTo>
                    <a:pt x="2172582" y="53531"/>
                  </a:lnTo>
                  <a:cubicBezTo>
                    <a:pt x="2167355" y="50047"/>
                    <a:pt x="2161241" y="48131"/>
                    <a:pt x="2154961" y="48006"/>
                  </a:cubicBezTo>
                  <a:cubicBezTo>
                    <a:pt x="2076221" y="46546"/>
                    <a:pt x="1996147" y="46482"/>
                    <a:pt x="1914740" y="47816"/>
                  </a:cubicBezTo>
                  <a:cubicBezTo>
                    <a:pt x="1898929" y="48070"/>
                    <a:pt x="1888134" y="51403"/>
                    <a:pt x="1882355" y="57817"/>
                  </a:cubicBezTo>
                  <a:cubicBezTo>
                    <a:pt x="1865591" y="76422"/>
                    <a:pt x="1856384" y="86678"/>
                    <a:pt x="1854733" y="88583"/>
                  </a:cubicBezTo>
                  <a:cubicBezTo>
                    <a:pt x="1839239" y="105918"/>
                    <a:pt x="1815268" y="121507"/>
                    <a:pt x="1782819" y="135350"/>
                  </a:cubicBezTo>
                  <a:cubicBezTo>
                    <a:pt x="1696427" y="172117"/>
                    <a:pt x="1602797" y="183833"/>
                    <a:pt x="1508404" y="182880"/>
                  </a:cubicBezTo>
                  <a:cubicBezTo>
                    <a:pt x="1418170" y="181928"/>
                    <a:pt x="1336128" y="166180"/>
                    <a:pt x="1262278" y="135636"/>
                  </a:cubicBezTo>
                  <a:cubicBezTo>
                    <a:pt x="1220812" y="118491"/>
                    <a:pt x="1188332" y="92774"/>
                    <a:pt x="1164837" y="58484"/>
                  </a:cubicBezTo>
                  <a:cubicBezTo>
                    <a:pt x="1159999" y="51504"/>
                    <a:pt x="1152063" y="47340"/>
                    <a:pt x="1143596" y="47339"/>
                  </a:cubicBezTo>
                  <a:lnTo>
                    <a:pt x="870991" y="47339"/>
                  </a:lnTo>
                  <a:cubicBezTo>
                    <a:pt x="863540" y="47339"/>
                    <a:pt x="856274" y="49562"/>
                    <a:pt x="850131" y="53721"/>
                  </a:cubicBezTo>
                  <a:lnTo>
                    <a:pt x="62699" y="582930"/>
                  </a:lnTo>
                  <a:cubicBezTo>
                    <a:pt x="47608" y="593087"/>
                    <a:pt x="43601" y="613551"/>
                    <a:pt x="53746" y="628650"/>
                  </a:cubicBezTo>
                  <a:lnTo>
                    <a:pt x="307778" y="1006602"/>
                  </a:lnTo>
                  <a:cubicBezTo>
                    <a:pt x="320287" y="1025271"/>
                    <a:pt x="336638" y="1029589"/>
                    <a:pt x="356831" y="1019556"/>
                  </a:cubicBezTo>
                  <a:lnTo>
                    <a:pt x="761453" y="817340"/>
                  </a:lnTo>
                  <a:cubicBezTo>
                    <a:pt x="773172" y="811489"/>
                    <a:pt x="787416" y="816245"/>
                    <a:pt x="793268" y="827965"/>
                  </a:cubicBezTo>
                  <a:cubicBezTo>
                    <a:pt x="794756" y="830945"/>
                    <a:pt x="795599" y="834205"/>
                    <a:pt x="795743" y="837533"/>
                  </a:cubicBezTo>
                  <a:lnTo>
                    <a:pt x="836891" y="1835849"/>
                  </a:lnTo>
                  <a:cubicBezTo>
                    <a:pt x="837607" y="1853158"/>
                    <a:pt x="851813" y="1866818"/>
                    <a:pt x="869086" y="1866805"/>
                  </a:cubicBezTo>
                  <a:cubicBezTo>
                    <a:pt x="1196873" y="1866932"/>
                    <a:pt x="1614989" y="1866964"/>
                    <a:pt x="2123433" y="1866900"/>
                  </a:cubicBezTo>
                  <a:cubicBezTo>
                    <a:pt x="2154580" y="1866900"/>
                    <a:pt x="2184965" y="1869948"/>
                    <a:pt x="2186584" y="1831277"/>
                  </a:cubicBezTo>
                  <a:cubicBezTo>
                    <a:pt x="2206968" y="1325817"/>
                    <a:pt x="2220493" y="995394"/>
                    <a:pt x="2227160" y="840010"/>
                  </a:cubicBezTo>
                  <a:cubicBezTo>
                    <a:pt x="2227732" y="827246"/>
                    <a:pt x="2233638" y="818991"/>
                    <a:pt x="2244877" y="815245"/>
                  </a:cubicBezTo>
                  <a:close/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046" name="Free-form: Shape 797">
              <a:extLst>
                <a:ext uri="{FF2B5EF4-FFF2-40B4-BE49-F238E27FC236}">
                  <a16:creationId xmlns:a16="http://schemas.microsoft.com/office/drawing/2014/main" id="{B5FFEE7F-5EBB-B0F5-2FAB-C903F5B4BC1D}"/>
                </a:ext>
              </a:extLst>
            </p:cNvPr>
            <p:cNvSpPr/>
            <p:nvPr/>
          </p:nvSpPr>
          <p:spPr>
            <a:xfrm>
              <a:off x="8258625" y="5369968"/>
              <a:ext cx="643394" cy="968359"/>
            </a:xfrm>
            <a:custGeom>
              <a:avLst/>
              <a:gdLst>
                <a:gd name="connsiteX0" fmla="*/ 315944 w 643394"/>
                <a:gd name="connsiteY0" fmla="*/ 303848 h 968359"/>
                <a:gd name="connsiteX1" fmla="*/ 65532 w 643394"/>
                <a:gd name="connsiteY1" fmla="*/ 303657 h 968359"/>
                <a:gd name="connsiteX2" fmla="*/ 8382 w 643394"/>
                <a:gd name="connsiteY2" fmla="*/ 274701 h 968359"/>
                <a:gd name="connsiteX3" fmla="*/ 0 w 643394"/>
                <a:gd name="connsiteY3" fmla="*/ 218313 h 968359"/>
                <a:gd name="connsiteX4" fmla="*/ 0 w 643394"/>
                <a:gd name="connsiteY4" fmla="*/ 61151 h 968359"/>
                <a:gd name="connsiteX5" fmla="*/ 27337 w 643394"/>
                <a:gd name="connsiteY5" fmla="*/ 8858 h 968359"/>
                <a:gd name="connsiteX6" fmla="*/ 79534 w 643394"/>
                <a:gd name="connsiteY6" fmla="*/ 190 h 968359"/>
                <a:gd name="connsiteX7" fmla="*/ 566738 w 643394"/>
                <a:gd name="connsiteY7" fmla="*/ 190 h 968359"/>
                <a:gd name="connsiteX8" fmla="*/ 615029 w 643394"/>
                <a:gd name="connsiteY8" fmla="*/ 8572 h 968359"/>
                <a:gd name="connsiteX9" fmla="*/ 643223 w 643394"/>
                <a:gd name="connsiteY9" fmla="*/ 72390 h 968359"/>
                <a:gd name="connsiteX10" fmla="*/ 643319 w 643394"/>
                <a:gd name="connsiteY10" fmla="*/ 238220 h 968359"/>
                <a:gd name="connsiteX11" fmla="*/ 633317 w 643394"/>
                <a:gd name="connsiteY11" fmla="*/ 287846 h 968359"/>
                <a:gd name="connsiteX12" fmla="*/ 372618 w 643394"/>
                <a:gd name="connsiteY12" fmla="*/ 921163 h 968359"/>
                <a:gd name="connsiteX13" fmla="*/ 281273 w 643394"/>
                <a:gd name="connsiteY13" fmla="*/ 968312 h 968359"/>
                <a:gd name="connsiteX14" fmla="*/ 148780 w 643394"/>
                <a:gd name="connsiteY14" fmla="*/ 968312 h 968359"/>
                <a:gd name="connsiteX15" fmla="*/ 73438 w 643394"/>
                <a:gd name="connsiteY15" fmla="*/ 924782 h 968359"/>
                <a:gd name="connsiteX16" fmla="*/ 82391 w 643394"/>
                <a:gd name="connsiteY16" fmla="*/ 885635 h 968359"/>
                <a:gd name="connsiteX17" fmla="*/ 319469 w 643394"/>
                <a:gd name="connsiteY17" fmla="*/ 309182 h 968359"/>
                <a:gd name="connsiteX18" fmla="*/ 315944 w 643394"/>
                <a:gd name="connsiteY18" fmla="*/ 303848 h 968359"/>
                <a:gd name="connsiteX19" fmla="*/ 380524 w 643394"/>
                <a:gd name="connsiteY19" fmla="*/ 275463 h 968359"/>
                <a:gd name="connsiteX20" fmla="*/ 379762 w 643394"/>
                <a:gd name="connsiteY20" fmla="*/ 287560 h 968359"/>
                <a:gd name="connsiteX21" fmla="*/ 121444 w 643394"/>
                <a:gd name="connsiteY21" fmla="*/ 915829 h 968359"/>
                <a:gd name="connsiteX22" fmla="*/ 124492 w 643394"/>
                <a:gd name="connsiteY22" fmla="*/ 920306 h 968359"/>
                <a:gd name="connsiteX23" fmla="*/ 313944 w 643394"/>
                <a:gd name="connsiteY23" fmla="*/ 920306 h 968359"/>
                <a:gd name="connsiteX24" fmla="*/ 324231 w 643394"/>
                <a:gd name="connsiteY24" fmla="*/ 913447 h 968359"/>
                <a:gd name="connsiteX25" fmla="*/ 587502 w 643394"/>
                <a:gd name="connsiteY25" fmla="*/ 274130 h 968359"/>
                <a:gd name="connsiteX26" fmla="*/ 596265 w 643394"/>
                <a:gd name="connsiteY26" fmla="*/ 228314 h 968359"/>
                <a:gd name="connsiteX27" fmla="*/ 595503 w 643394"/>
                <a:gd name="connsiteY27" fmla="*/ 59245 h 968359"/>
                <a:gd name="connsiteX28" fmla="*/ 583978 w 643394"/>
                <a:gd name="connsiteY28" fmla="*/ 47625 h 968359"/>
                <a:gd name="connsiteX29" fmla="*/ 583883 w 643394"/>
                <a:gd name="connsiteY29" fmla="*/ 47625 h 968359"/>
                <a:gd name="connsiteX30" fmla="*/ 59626 w 643394"/>
                <a:gd name="connsiteY30" fmla="*/ 47625 h 968359"/>
                <a:gd name="connsiteX31" fmla="*/ 47625 w 643394"/>
                <a:gd name="connsiteY31" fmla="*/ 59627 h 968359"/>
                <a:gd name="connsiteX32" fmla="*/ 47625 w 643394"/>
                <a:gd name="connsiteY32" fmla="*/ 244126 h 968359"/>
                <a:gd name="connsiteX33" fmla="*/ 59246 w 643394"/>
                <a:gd name="connsiteY33" fmla="*/ 255746 h 968359"/>
                <a:gd name="connsiteX34" fmla="*/ 353282 w 643394"/>
                <a:gd name="connsiteY34" fmla="*/ 255842 h 968359"/>
                <a:gd name="connsiteX35" fmla="*/ 380524 w 643394"/>
                <a:gd name="connsiteY35" fmla="*/ 275463 h 9683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43394" h="968359">
                  <a:moveTo>
                    <a:pt x="315944" y="303848"/>
                  </a:moveTo>
                  <a:cubicBezTo>
                    <a:pt x="239300" y="303213"/>
                    <a:pt x="155829" y="303149"/>
                    <a:pt x="65532" y="303657"/>
                  </a:cubicBezTo>
                  <a:cubicBezTo>
                    <a:pt x="37656" y="303848"/>
                    <a:pt x="18606" y="294196"/>
                    <a:pt x="8382" y="274701"/>
                  </a:cubicBezTo>
                  <a:cubicBezTo>
                    <a:pt x="2794" y="264033"/>
                    <a:pt x="0" y="245237"/>
                    <a:pt x="0" y="218313"/>
                  </a:cubicBezTo>
                  <a:cubicBezTo>
                    <a:pt x="0" y="165862"/>
                    <a:pt x="0" y="113474"/>
                    <a:pt x="0" y="61151"/>
                  </a:cubicBezTo>
                  <a:cubicBezTo>
                    <a:pt x="0" y="36513"/>
                    <a:pt x="9112" y="19082"/>
                    <a:pt x="27337" y="8858"/>
                  </a:cubicBezTo>
                  <a:cubicBezTo>
                    <a:pt x="37560" y="3080"/>
                    <a:pt x="54959" y="190"/>
                    <a:pt x="79534" y="190"/>
                  </a:cubicBezTo>
                  <a:cubicBezTo>
                    <a:pt x="241903" y="-63"/>
                    <a:pt x="404305" y="-63"/>
                    <a:pt x="566738" y="190"/>
                  </a:cubicBezTo>
                  <a:cubicBezTo>
                    <a:pt x="589217" y="254"/>
                    <a:pt x="605314" y="3048"/>
                    <a:pt x="615029" y="8572"/>
                  </a:cubicBezTo>
                  <a:cubicBezTo>
                    <a:pt x="639509" y="22479"/>
                    <a:pt x="643128" y="43720"/>
                    <a:pt x="643223" y="72390"/>
                  </a:cubicBezTo>
                  <a:cubicBezTo>
                    <a:pt x="643414" y="141732"/>
                    <a:pt x="643445" y="197009"/>
                    <a:pt x="643319" y="238220"/>
                  </a:cubicBezTo>
                  <a:cubicBezTo>
                    <a:pt x="643255" y="255175"/>
                    <a:pt x="639921" y="271717"/>
                    <a:pt x="633317" y="287846"/>
                  </a:cubicBezTo>
                  <a:cubicBezTo>
                    <a:pt x="606076" y="354013"/>
                    <a:pt x="519176" y="565118"/>
                    <a:pt x="372618" y="921163"/>
                  </a:cubicBezTo>
                  <a:cubicBezTo>
                    <a:pt x="355473" y="962787"/>
                    <a:pt x="325660" y="968216"/>
                    <a:pt x="281273" y="968312"/>
                  </a:cubicBezTo>
                  <a:cubicBezTo>
                    <a:pt x="237141" y="968375"/>
                    <a:pt x="192976" y="968375"/>
                    <a:pt x="148780" y="968312"/>
                  </a:cubicBezTo>
                  <a:cubicBezTo>
                    <a:pt x="112014" y="968216"/>
                    <a:pt x="76200" y="966311"/>
                    <a:pt x="73438" y="924782"/>
                  </a:cubicBezTo>
                  <a:cubicBezTo>
                    <a:pt x="72803" y="914876"/>
                    <a:pt x="75787" y="901827"/>
                    <a:pt x="82391" y="885635"/>
                  </a:cubicBezTo>
                  <a:cubicBezTo>
                    <a:pt x="156877" y="704406"/>
                    <a:pt x="235902" y="512255"/>
                    <a:pt x="319469" y="309182"/>
                  </a:cubicBezTo>
                  <a:cubicBezTo>
                    <a:pt x="320929" y="305625"/>
                    <a:pt x="319754" y="303848"/>
                    <a:pt x="315944" y="303848"/>
                  </a:cubicBezTo>
                  <a:close/>
                  <a:moveTo>
                    <a:pt x="380524" y="275463"/>
                  </a:moveTo>
                  <a:cubicBezTo>
                    <a:pt x="381633" y="279474"/>
                    <a:pt x="381364" y="283734"/>
                    <a:pt x="379762" y="287560"/>
                  </a:cubicBezTo>
                  <a:lnTo>
                    <a:pt x="121444" y="915829"/>
                  </a:lnTo>
                  <a:cubicBezTo>
                    <a:pt x="120237" y="918813"/>
                    <a:pt x="121253" y="920306"/>
                    <a:pt x="124492" y="920306"/>
                  </a:cubicBezTo>
                  <a:lnTo>
                    <a:pt x="313944" y="920306"/>
                  </a:lnTo>
                  <a:cubicBezTo>
                    <a:pt x="318897" y="920306"/>
                    <a:pt x="322326" y="918020"/>
                    <a:pt x="324231" y="913447"/>
                  </a:cubicBezTo>
                  <a:cubicBezTo>
                    <a:pt x="483172" y="527241"/>
                    <a:pt x="570929" y="314134"/>
                    <a:pt x="587502" y="274130"/>
                  </a:cubicBezTo>
                  <a:cubicBezTo>
                    <a:pt x="593598" y="259397"/>
                    <a:pt x="596519" y="244126"/>
                    <a:pt x="596265" y="228314"/>
                  </a:cubicBezTo>
                  <a:cubicBezTo>
                    <a:pt x="595376" y="177387"/>
                    <a:pt x="595122" y="121031"/>
                    <a:pt x="595503" y="59245"/>
                  </a:cubicBezTo>
                  <a:cubicBezTo>
                    <a:pt x="595556" y="52880"/>
                    <a:pt x="590396" y="47678"/>
                    <a:pt x="583978" y="47625"/>
                  </a:cubicBezTo>
                  <a:cubicBezTo>
                    <a:pt x="583946" y="47625"/>
                    <a:pt x="583915" y="47625"/>
                    <a:pt x="583883" y="47625"/>
                  </a:cubicBezTo>
                  <a:lnTo>
                    <a:pt x="59626" y="47625"/>
                  </a:lnTo>
                  <a:cubicBezTo>
                    <a:pt x="52998" y="47625"/>
                    <a:pt x="47625" y="52998"/>
                    <a:pt x="47625" y="59627"/>
                  </a:cubicBezTo>
                  <a:lnTo>
                    <a:pt x="47625" y="244126"/>
                  </a:lnTo>
                  <a:cubicBezTo>
                    <a:pt x="47625" y="250507"/>
                    <a:pt x="52813" y="255694"/>
                    <a:pt x="59246" y="255746"/>
                  </a:cubicBezTo>
                  <a:cubicBezTo>
                    <a:pt x="164021" y="256000"/>
                    <a:pt x="262033" y="256032"/>
                    <a:pt x="353282" y="255842"/>
                  </a:cubicBezTo>
                  <a:cubicBezTo>
                    <a:pt x="367951" y="255778"/>
                    <a:pt x="377031" y="262319"/>
                    <a:pt x="380524" y="275463"/>
                  </a:cubicBezTo>
                  <a:close/>
                </a:path>
              </a:pathLst>
            </a:custGeom>
            <a:grp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pic>
        <p:nvPicPr>
          <p:cNvPr id="1062" name="Graphic 1061" descr="Volleyball outline">
            <a:extLst>
              <a:ext uri="{FF2B5EF4-FFF2-40B4-BE49-F238E27FC236}">
                <a16:creationId xmlns:a16="http://schemas.microsoft.com/office/drawing/2014/main" id="{787C4278-E09E-DD27-33F2-E58C24218C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73367" y="3244316"/>
            <a:ext cx="1106424" cy="1106424"/>
          </a:xfrm>
          <a:prstGeom prst="rect">
            <a:avLst/>
          </a:prstGeom>
        </p:spPr>
      </p:pic>
      <p:grpSp>
        <p:nvGrpSpPr>
          <p:cNvPr id="1063" name="Tablet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C2B8205-601E-E303-75C6-325957E0DB82}"/>
              </a:ext>
            </a:extLst>
          </p:cNvPr>
          <p:cNvGrpSpPr>
            <a:grpSpLocks noChangeAspect="1"/>
          </p:cNvGrpSpPr>
          <p:nvPr/>
        </p:nvGrpSpPr>
        <p:grpSpPr>
          <a:xfrm>
            <a:off x="9683754" y="4644570"/>
            <a:ext cx="938938" cy="1227208"/>
            <a:chOff x="5584826" y="2944813"/>
            <a:chExt cx="180975" cy="236538"/>
          </a:xfrm>
          <a:solidFill>
            <a:schemeClr val="tx1"/>
          </a:solidFill>
        </p:grpSpPr>
        <p:sp>
          <p:nvSpPr>
            <p:cNvPr id="1064" name="Freeform 1067">
              <a:extLst>
                <a:ext uri="{FF2B5EF4-FFF2-40B4-BE49-F238E27FC236}">
                  <a16:creationId xmlns:a16="http://schemas.microsoft.com/office/drawing/2014/main" id="{E6BADDF4-209A-B142-D5FE-F3E893F803C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4826" y="2944813"/>
              <a:ext cx="180975" cy="236538"/>
            </a:xfrm>
            <a:custGeom>
              <a:avLst/>
              <a:gdLst>
                <a:gd name="T0" fmla="*/ 482 w 4963"/>
                <a:gd name="T1" fmla="*/ 200 h 6497"/>
                <a:gd name="T2" fmla="*/ 201 w 4963"/>
                <a:gd name="T3" fmla="*/ 482 h 6497"/>
                <a:gd name="T4" fmla="*/ 199 w 4963"/>
                <a:gd name="T5" fmla="*/ 6015 h 6497"/>
                <a:gd name="T6" fmla="*/ 481 w 4963"/>
                <a:gd name="T7" fmla="*/ 6296 h 6497"/>
                <a:gd name="T8" fmla="*/ 4480 w 4963"/>
                <a:gd name="T9" fmla="*/ 6297 h 6497"/>
                <a:gd name="T10" fmla="*/ 4480 w 4963"/>
                <a:gd name="T11" fmla="*/ 6397 h 6497"/>
                <a:gd name="T12" fmla="*/ 4480 w 4963"/>
                <a:gd name="T13" fmla="*/ 6297 h 6497"/>
                <a:gd name="T14" fmla="*/ 4762 w 4963"/>
                <a:gd name="T15" fmla="*/ 6016 h 6497"/>
                <a:gd name="T16" fmla="*/ 4763 w 4963"/>
                <a:gd name="T17" fmla="*/ 482 h 6497"/>
                <a:gd name="T18" fmla="*/ 4681 w 4963"/>
                <a:gd name="T19" fmla="*/ 284 h 6497"/>
                <a:gd name="T20" fmla="*/ 4481 w 4963"/>
                <a:gd name="T21" fmla="*/ 201 h 6497"/>
                <a:gd name="T22" fmla="*/ 482 w 4963"/>
                <a:gd name="T23" fmla="*/ 200 h 6497"/>
                <a:gd name="T24" fmla="*/ 4480 w 4963"/>
                <a:gd name="T25" fmla="*/ 6497 h 6497"/>
                <a:gd name="T26" fmla="*/ 4480 w 4963"/>
                <a:gd name="T27" fmla="*/ 6397 h 6497"/>
                <a:gd name="T28" fmla="*/ 4480 w 4963"/>
                <a:gd name="T29" fmla="*/ 6497 h 6497"/>
                <a:gd name="T30" fmla="*/ 4480 w 4963"/>
                <a:gd name="T31" fmla="*/ 6497 h 6497"/>
                <a:gd name="T32" fmla="*/ 481 w 4963"/>
                <a:gd name="T33" fmla="*/ 6496 h 6497"/>
                <a:gd name="T34" fmla="*/ 0 w 4963"/>
                <a:gd name="T35" fmla="*/ 6015 h 6497"/>
                <a:gd name="T36" fmla="*/ 1 w 4963"/>
                <a:gd name="T37" fmla="*/ 482 h 6497"/>
                <a:gd name="T38" fmla="*/ 482 w 4963"/>
                <a:gd name="T39" fmla="*/ 0 h 6497"/>
                <a:gd name="T40" fmla="*/ 4481 w 4963"/>
                <a:gd name="T41" fmla="*/ 2 h 6497"/>
                <a:gd name="T42" fmla="*/ 4822 w 4963"/>
                <a:gd name="T43" fmla="*/ 142 h 6497"/>
                <a:gd name="T44" fmla="*/ 4963 w 4963"/>
                <a:gd name="T45" fmla="*/ 483 h 6497"/>
                <a:gd name="T46" fmla="*/ 4961 w 4963"/>
                <a:gd name="T47" fmla="*/ 6016 h 6497"/>
                <a:gd name="T48" fmla="*/ 4480 w 4963"/>
                <a:gd name="T49" fmla="*/ 6497 h 6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963" h="6497">
                  <a:moveTo>
                    <a:pt x="482" y="200"/>
                  </a:moveTo>
                  <a:cubicBezTo>
                    <a:pt x="327" y="200"/>
                    <a:pt x="201" y="327"/>
                    <a:pt x="201" y="482"/>
                  </a:cubicBezTo>
                  <a:lnTo>
                    <a:pt x="199" y="6015"/>
                  </a:lnTo>
                  <a:cubicBezTo>
                    <a:pt x="199" y="6170"/>
                    <a:pt x="325" y="6296"/>
                    <a:pt x="481" y="6296"/>
                  </a:cubicBezTo>
                  <a:lnTo>
                    <a:pt x="4480" y="6297"/>
                  </a:lnTo>
                  <a:lnTo>
                    <a:pt x="4480" y="6397"/>
                  </a:lnTo>
                  <a:lnTo>
                    <a:pt x="4480" y="6297"/>
                  </a:lnTo>
                  <a:cubicBezTo>
                    <a:pt x="4635" y="6297"/>
                    <a:pt x="4762" y="6171"/>
                    <a:pt x="4762" y="6016"/>
                  </a:cubicBezTo>
                  <a:lnTo>
                    <a:pt x="4763" y="482"/>
                  </a:lnTo>
                  <a:cubicBezTo>
                    <a:pt x="4763" y="408"/>
                    <a:pt x="4734" y="337"/>
                    <a:pt x="4681" y="284"/>
                  </a:cubicBezTo>
                  <a:cubicBezTo>
                    <a:pt x="4627" y="230"/>
                    <a:pt x="4557" y="201"/>
                    <a:pt x="4481" y="201"/>
                  </a:cubicBezTo>
                  <a:lnTo>
                    <a:pt x="482" y="200"/>
                  </a:lnTo>
                  <a:close/>
                  <a:moveTo>
                    <a:pt x="4480" y="6497"/>
                  </a:moveTo>
                  <a:lnTo>
                    <a:pt x="4480" y="6397"/>
                  </a:lnTo>
                  <a:lnTo>
                    <a:pt x="4480" y="6497"/>
                  </a:lnTo>
                  <a:lnTo>
                    <a:pt x="4480" y="6497"/>
                  </a:lnTo>
                  <a:lnTo>
                    <a:pt x="481" y="6496"/>
                  </a:lnTo>
                  <a:cubicBezTo>
                    <a:pt x="215" y="6496"/>
                    <a:pt x="0" y="6280"/>
                    <a:pt x="0" y="6015"/>
                  </a:cubicBezTo>
                  <a:lnTo>
                    <a:pt x="1" y="482"/>
                  </a:lnTo>
                  <a:cubicBezTo>
                    <a:pt x="1" y="217"/>
                    <a:pt x="216" y="0"/>
                    <a:pt x="482" y="0"/>
                  </a:cubicBezTo>
                  <a:lnTo>
                    <a:pt x="4481" y="2"/>
                  </a:lnTo>
                  <a:cubicBezTo>
                    <a:pt x="4610" y="2"/>
                    <a:pt x="4731" y="52"/>
                    <a:pt x="4822" y="142"/>
                  </a:cubicBezTo>
                  <a:cubicBezTo>
                    <a:pt x="4913" y="233"/>
                    <a:pt x="4963" y="354"/>
                    <a:pt x="4963" y="483"/>
                  </a:cubicBezTo>
                  <a:lnTo>
                    <a:pt x="4961" y="6016"/>
                  </a:lnTo>
                  <a:cubicBezTo>
                    <a:pt x="4961" y="6281"/>
                    <a:pt x="4745" y="6497"/>
                    <a:pt x="4480" y="649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65" name="Freeform 1068">
              <a:extLst>
                <a:ext uri="{FF2B5EF4-FFF2-40B4-BE49-F238E27FC236}">
                  <a16:creationId xmlns:a16="http://schemas.microsoft.com/office/drawing/2014/main" id="{FFE3444C-33CC-D658-882D-4FBE00148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5463" y="2970213"/>
              <a:ext cx="139700" cy="173038"/>
            </a:xfrm>
            <a:custGeom>
              <a:avLst/>
              <a:gdLst>
                <a:gd name="T0" fmla="*/ 3683 w 3861"/>
                <a:gd name="T1" fmla="*/ 4774 h 4774"/>
                <a:gd name="T2" fmla="*/ 3683 w 3861"/>
                <a:gd name="T3" fmla="*/ 4774 h 4774"/>
                <a:gd name="T4" fmla="*/ 177 w 3861"/>
                <a:gd name="T5" fmla="*/ 4774 h 4774"/>
                <a:gd name="T6" fmla="*/ 52 w 3861"/>
                <a:gd name="T7" fmla="*/ 4722 h 4774"/>
                <a:gd name="T8" fmla="*/ 0 w 3861"/>
                <a:gd name="T9" fmla="*/ 4597 h 4774"/>
                <a:gd name="T10" fmla="*/ 1 w 3861"/>
                <a:gd name="T11" fmla="*/ 1625 h 4774"/>
                <a:gd name="T12" fmla="*/ 101 w 3861"/>
                <a:gd name="T13" fmla="*/ 1524 h 4774"/>
                <a:gd name="T14" fmla="*/ 101 w 3861"/>
                <a:gd name="T15" fmla="*/ 1524 h 4774"/>
                <a:gd name="T16" fmla="*/ 202 w 3861"/>
                <a:gd name="T17" fmla="*/ 1625 h 4774"/>
                <a:gd name="T18" fmla="*/ 201 w 3861"/>
                <a:gd name="T19" fmla="*/ 4574 h 4774"/>
                <a:gd name="T20" fmla="*/ 3660 w 3861"/>
                <a:gd name="T21" fmla="*/ 4575 h 4774"/>
                <a:gd name="T22" fmla="*/ 3660 w 3861"/>
                <a:gd name="T23" fmla="*/ 201 h 4774"/>
                <a:gd name="T24" fmla="*/ 202 w 3861"/>
                <a:gd name="T25" fmla="*/ 200 h 4774"/>
                <a:gd name="T26" fmla="*/ 202 w 3861"/>
                <a:gd name="T27" fmla="*/ 946 h 4774"/>
                <a:gd name="T28" fmla="*/ 101 w 3861"/>
                <a:gd name="T29" fmla="*/ 1047 h 4774"/>
                <a:gd name="T30" fmla="*/ 101 w 3861"/>
                <a:gd name="T31" fmla="*/ 1047 h 4774"/>
                <a:gd name="T32" fmla="*/ 2 w 3861"/>
                <a:gd name="T33" fmla="*/ 946 h 4774"/>
                <a:gd name="T34" fmla="*/ 2 w 3861"/>
                <a:gd name="T35" fmla="*/ 176 h 4774"/>
                <a:gd name="T36" fmla="*/ 178 w 3861"/>
                <a:gd name="T37" fmla="*/ 0 h 4774"/>
                <a:gd name="T38" fmla="*/ 3685 w 3861"/>
                <a:gd name="T39" fmla="*/ 1 h 4774"/>
                <a:gd name="T40" fmla="*/ 3809 w 3861"/>
                <a:gd name="T41" fmla="*/ 53 h 4774"/>
                <a:gd name="T42" fmla="*/ 3860 w 3861"/>
                <a:gd name="T43" fmla="*/ 177 h 4774"/>
                <a:gd name="T44" fmla="*/ 3860 w 3861"/>
                <a:gd name="T45" fmla="*/ 4599 h 4774"/>
                <a:gd name="T46" fmla="*/ 3808 w 3861"/>
                <a:gd name="T47" fmla="*/ 4723 h 4774"/>
                <a:gd name="T48" fmla="*/ 3683 w 3861"/>
                <a:gd name="T49" fmla="*/ 4774 h 4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61" h="4774">
                  <a:moveTo>
                    <a:pt x="3683" y="4774"/>
                  </a:moveTo>
                  <a:lnTo>
                    <a:pt x="3683" y="4774"/>
                  </a:lnTo>
                  <a:lnTo>
                    <a:pt x="177" y="4774"/>
                  </a:lnTo>
                  <a:cubicBezTo>
                    <a:pt x="129" y="4774"/>
                    <a:pt x="86" y="4755"/>
                    <a:pt x="52" y="4722"/>
                  </a:cubicBezTo>
                  <a:cubicBezTo>
                    <a:pt x="19" y="4689"/>
                    <a:pt x="0" y="4645"/>
                    <a:pt x="0" y="4597"/>
                  </a:cubicBezTo>
                  <a:lnTo>
                    <a:pt x="1" y="1625"/>
                  </a:lnTo>
                  <a:cubicBezTo>
                    <a:pt x="1" y="1569"/>
                    <a:pt x="46" y="1524"/>
                    <a:pt x="101" y="1524"/>
                  </a:cubicBezTo>
                  <a:lnTo>
                    <a:pt x="101" y="1524"/>
                  </a:lnTo>
                  <a:cubicBezTo>
                    <a:pt x="156" y="1524"/>
                    <a:pt x="202" y="1569"/>
                    <a:pt x="202" y="1625"/>
                  </a:cubicBezTo>
                  <a:lnTo>
                    <a:pt x="201" y="4574"/>
                  </a:lnTo>
                  <a:lnTo>
                    <a:pt x="3660" y="4575"/>
                  </a:lnTo>
                  <a:lnTo>
                    <a:pt x="3660" y="201"/>
                  </a:lnTo>
                  <a:lnTo>
                    <a:pt x="202" y="200"/>
                  </a:lnTo>
                  <a:lnTo>
                    <a:pt x="202" y="946"/>
                  </a:lnTo>
                  <a:cubicBezTo>
                    <a:pt x="202" y="1002"/>
                    <a:pt x="157" y="1047"/>
                    <a:pt x="101" y="1047"/>
                  </a:cubicBezTo>
                  <a:lnTo>
                    <a:pt x="101" y="1047"/>
                  </a:lnTo>
                  <a:cubicBezTo>
                    <a:pt x="46" y="1047"/>
                    <a:pt x="2" y="1002"/>
                    <a:pt x="2" y="946"/>
                  </a:cubicBezTo>
                  <a:lnTo>
                    <a:pt x="2" y="176"/>
                  </a:lnTo>
                  <a:cubicBezTo>
                    <a:pt x="2" y="79"/>
                    <a:pt x="81" y="0"/>
                    <a:pt x="178" y="0"/>
                  </a:cubicBezTo>
                  <a:lnTo>
                    <a:pt x="3685" y="1"/>
                  </a:lnTo>
                  <a:cubicBezTo>
                    <a:pt x="3731" y="1"/>
                    <a:pt x="3776" y="19"/>
                    <a:pt x="3809" y="53"/>
                  </a:cubicBezTo>
                  <a:cubicBezTo>
                    <a:pt x="3843" y="86"/>
                    <a:pt x="3861" y="130"/>
                    <a:pt x="3860" y="177"/>
                  </a:cubicBezTo>
                  <a:lnTo>
                    <a:pt x="3860" y="4599"/>
                  </a:lnTo>
                  <a:cubicBezTo>
                    <a:pt x="3860" y="4645"/>
                    <a:pt x="3841" y="4690"/>
                    <a:pt x="3808" y="4723"/>
                  </a:cubicBezTo>
                  <a:cubicBezTo>
                    <a:pt x="3774" y="4756"/>
                    <a:pt x="3731" y="4774"/>
                    <a:pt x="3683" y="4774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66" name="Freeform 1069">
              <a:extLst>
                <a:ext uri="{FF2B5EF4-FFF2-40B4-BE49-F238E27FC236}">
                  <a16:creationId xmlns:a16="http://schemas.microsoft.com/office/drawing/2014/main" id="{6F278F4C-B505-2448-0EAA-20224F1E8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5463" y="3011488"/>
              <a:ext cx="6350" cy="7938"/>
            </a:xfrm>
            <a:custGeom>
              <a:avLst/>
              <a:gdLst>
                <a:gd name="T0" fmla="*/ 100 w 199"/>
                <a:gd name="T1" fmla="*/ 214 h 214"/>
                <a:gd name="T2" fmla="*/ 0 w 199"/>
                <a:gd name="T3" fmla="*/ 114 h 214"/>
                <a:gd name="T4" fmla="*/ 0 w 199"/>
                <a:gd name="T5" fmla="*/ 100 h 214"/>
                <a:gd name="T6" fmla="*/ 100 w 199"/>
                <a:gd name="T7" fmla="*/ 0 h 214"/>
                <a:gd name="T8" fmla="*/ 199 w 199"/>
                <a:gd name="T9" fmla="*/ 100 h 214"/>
                <a:gd name="T10" fmla="*/ 199 w 199"/>
                <a:gd name="T11" fmla="*/ 114 h 214"/>
                <a:gd name="T12" fmla="*/ 100 w 199"/>
                <a:gd name="T13" fmla="*/ 21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214">
                  <a:moveTo>
                    <a:pt x="100" y="214"/>
                  </a:moveTo>
                  <a:cubicBezTo>
                    <a:pt x="44" y="214"/>
                    <a:pt x="0" y="169"/>
                    <a:pt x="0" y="114"/>
                  </a:cubicBezTo>
                  <a:lnTo>
                    <a:pt x="0" y="100"/>
                  </a:lnTo>
                  <a:cubicBezTo>
                    <a:pt x="0" y="45"/>
                    <a:pt x="44" y="0"/>
                    <a:pt x="100" y="0"/>
                  </a:cubicBezTo>
                  <a:cubicBezTo>
                    <a:pt x="155" y="0"/>
                    <a:pt x="199" y="45"/>
                    <a:pt x="199" y="100"/>
                  </a:cubicBezTo>
                  <a:lnTo>
                    <a:pt x="199" y="114"/>
                  </a:lnTo>
                  <a:cubicBezTo>
                    <a:pt x="199" y="169"/>
                    <a:pt x="155" y="214"/>
                    <a:pt x="100" y="21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67" name="Freeform 1070">
              <a:extLst>
                <a:ext uri="{FF2B5EF4-FFF2-40B4-BE49-F238E27FC236}">
                  <a16:creationId xmlns:a16="http://schemas.microsoft.com/office/drawing/2014/main" id="{2AE97EBA-C2DB-1C0F-7693-041B79FB5D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56263" y="3149600"/>
              <a:ext cx="38100" cy="19050"/>
            </a:xfrm>
            <a:custGeom>
              <a:avLst/>
              <a:gdLst>
                <a:gd name="T0" fmla="*/ 200 w 1034"/>
                <a:gd name="T1" fmla="*/ 323 h 523"/>
                <a:gd name="T2" fmla="*/ 834 w 1034"/>
                <a:gd name="T3" fmla="*/ 323 h 523"/>
                <a:gd name="T4" fmla="*/ 834 w 1034"/>
                <a:gd name="T5" fmla="*/ 200 h 523"/>
                <a:gd name="T6" fmla="*/ 200 w 1034"/>
                <a:gd name="T7" fmla="*/ 200 h 523"/>
                <a:gd name="T8" fmla="*/ 200 w 1034"/>
                <a:gd name="T9" fmla="*/ 323 h 523"/>
                <a:gd name="T10" fmla="*/ 858 w 1034"/>
                <a:gd name="T11" fmla="*/ 323 h 523"/>
                <a:gd name="T12" fmla="*/ 858 w 1034"/>
                <a:gd name="T13" fmla="*/ 423 h 523"/>
                <a:gd name="T14" fmla="*/ 858 w 1034"/>
                <a:gd name="T15" fmla="*/ 323 h 523"/>
                <a:gd name="T16" fmla="*/ 858 w 1034"/>
                <a:gd name="T17" fmla="*/ 523 h 523"/>
                <a:gd name="T18" fmla="*/ 858 w 1034"/>
                <a:gd name="T19" fmla="*/ 523 h 523"/>
                <a:gd name="T20" fmla="*/ 177 w 1034"/>
                <a:gd name="T21" fmla="*/ 523 h 523"/>
                <a:gd name="T22" fmla="*/ 0 w 1034"/>
                <a:gd name="T23" fmla="*/ 347 h 523"/>
                <a:gd name="T24" fmla="*/ 0 w 1034"/>
                <a:gd name="T25" fmla="*/ 177 h 523"/>
                <a:gd name="T26" fmla="*/ 177 w 1034"/>
                <a:gd name="T27" fmla="*/ 0 h 523"/>
                <a:gd name="T28" fmla="*/ 859 w 1034"/>
                <a:gd name="T29" fmla="*/ 0 h 523"/>
                <a:gd name="T30" fmla="*/ 1034 w 1034"/>
                <a:gd name="T31" fmla="*/ 177 h 523"/>
                <a:gd name="T32" fmla="*/ 1034 w 1034"/>
                <a:gd name="T33" fmla="*/ 347 h 523"/>
                <a:gd name="T34" fmla="*/ 858 w 1034"/>
                <a:gd name="T35" fmla="*/ 523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34" h="523">
                  <a:moveTo>
                    <a:pt x="200" y="323"/>
                  </a:moveTo>
                  <a:lnTo>
                    <a:pt x="834" y="323"/>
                  </a:lnTo>
                  <a:lnTo>
                    <a:pt x="834" y="200"/>
                  </a:lnTo>
                  <a:lnTo>
                    <a:pt x="200" y="200"/>
                  </a:lnTo>
                  <a:lnTo>
                    <a:pt x="200" y="323"/>
                  </a:lnTo>
                  <a:close/>
                  <a:moveTo>
                    <a:pt x="858" y="323"/>
                  </a:moveTo>
                  <a:lnTo>
                    <a:pt x="858" y="423"/>
                  </a:lnTo>
                  <a:lnTo>
                    <a:pt x="858" y="323"/>
                  </a:lnTo>
                  <a:close/>
                  <a:moveTo>
                    <a:pt x="858" y="523"/>
                  </a:moveTo>
                  <a:lnTo>
                    <a:pt x="858" y="523"/>
                  </a:lnTo>
                  <a:lnTo>
                    <a:pt x="177" y="523"/>
                  </a:lnTo>
                  <a:cubicBezTo>
                    <a:pt x="80" y="523"/>
                    <a:pt x="0" y="444"/>
                    <a:pt x="0" y="347"/>
                  </a:cubicBezTo>
                  <a:lnTo>
                    <a:pt x="0" y="177"/>
                  </a:lnTo>
                  <a:cubicBezTo>
                    <a:pt x="0" y="79"/>
                    <a:pt x="80" y="0"/>
                    <a:pt x="177" y="0"/>
                  </a:cubicBezTo>
                  <a:lnTo>
                    <a:pt x="859" y="0"/>
                  </a:lnTo>
                  <a:cubicBezTo>
                    <a:pt x="955" y="1"/>
                    <a:pt x="1034" y="80"/>
                    <a:pt x="1034" y="177"/>
                  </a:cubicBezTo>
                  <a:lnTo>
                    <a:pt x="1034" y="347"/>
                  </a:lnTo>
                  <a:cubicBezTo>
                    <a:pt x="1034" y="444"/>
                    <a:pt x="955" y="523"/>
                    <a:pt x="858" y="5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068" name="Freeform 3296">
              <a:extLst>
                <a:ext uri="{FF2B5EF4-FFF2-40B4-BE49-F238E27FC236}">
                  <a16:creationId xmlns:a16="http://schemas.microsoft.com/office/drawing/2014/main" id="{BE9C2597-13B7-ACB5-1017-613E5D148C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6900" y="2955925"/>
              <a:ext cx="7938" cy="7938"/>
            </a:xfrm>
            <a:custGeom>
              <a:avLst/>
              <a:gdLst>
                <a:gd name="T0" fmla="*/ 109 w 212"/>
                <a:gd name="T1" fmla="*/ 208 h 208"/>
                <a:gd name="T2" fmla="*/ 98 w 212"/>
                <a:gd name="T3" fmla="*/ 207 h 208"/>
                <a:gd name="T4" fmla="*/ 36 w 212"/>
                <a:gd name="T5" fmla="*/ 176 h 208"/>
                <a:gd name="T6" fmla="*/ 5 w 212"/>
                <a:gd name="T7" fmla="*/ 114 h 208"/>
                <a:gd name="T8" fmla="*/ 95 w 212"/>
                <a:gd name="T9" fmla="*/ 4 h 208"/>
                <a:gd name="T10" fmla="*/ 179 w 212"/>
                <a:gd name="T11" fmla="*/ 33 h 208"/>
                <a:gd name="T12" fmla="*/ 208 w 212"/>
                <a:gd name="T13" fmla="*/ 118 h 208"/>
                <a:gd name="T14" fmla="*/ 109 w 212"/>
                <a:gd name="T15" fmla="*/ 20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2" h="208">
                  <a:moveTo>
                    <a:pt x="109" y="208"/>
                  </a:moveTo>
                  <a:cubicBezTo>
                    <a:pt x="106" y="208"/>
                    <a:pt x="102" y="208"/>
                    <a:pt x="98" y="207"/>
                  </a:cubicBezTo>
                  <a:cubicBezTo>
                    <a:pt x="73" y="204"/>
                    <a:pt x="52" y="193"/>
                    <a:pt x="36" y="176"/>
                  </a:cubicBezTo>
                  <a:cubicBezTo>
                    <a:pt x="20" y="160"/>
                    <a:pt x="8" y="138"/>
                    <a:pt x="5" y="114"/>
                  </a:cubicBezTo>
                  <a:cubicBezTo>
                    <a:pt x="0" y="59"/>
                    <a:pt x="39" y="10"/>
                    <a:pt x="95" y="4"/>
                  </a:cubicBezTo>
                  <a:cubicBezTo>
                    <a:pt x="126" y="0"/>
                    <a:pt x="157" y="11"/>
                    <a:pt x="179" y="33"/>
                  </a:cubicBezTo>
                  <a:cubicBezTo>
                    <a:pt x="201" y="56"/>
                    <a:pt x="212" y="87"/>
                    <a:pt x="208" y="118"/>
                  </a:cubicBezTo>
                  <a:cubicBezTo>
                    <a:pt x="203" y="169"/>
                    <a:pt x="160" y="208"/>
                    <a:pt x="109" y="20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8726291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6D66FA-73E4-8AE3-2F0E-46E70534FE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9325A-A8FD-EE19-805A-2B7F1CA23BD9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tail mail during June, July and August 2024 achieves high levels of engagement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51CC8D2-EDCF-BAE0-A30D-11C9D6E92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il achieves high engagemen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A3E6738-F395-13B8-D01C-FDB65BFE34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71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2232599-69A3-F4AB-1D1A-E65480C8BE08}"/>
              </a:ext>
            </a:extLst>
          </p:cNvPr>
          <p:cNvSpPr txBox="1"/>
          <p:nvPr/>
        </p:nvSpPr>
        <p:spPr>
          <a:xfrm>
            <a:off x="7384328" y="3526042"/>
            <a:ext cx="3047629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3800" b="1" dirty="0">
                <a:latin typeface="Century Gothic" panose="020B0502020202020204" pitchFamily="34" charset="0"/>
              </a:rPr>
              <a:t>96</a:t>
            </a:r>
            <a:r>
              <a:rPr lang="en-GB" sz="8000" b="1" dirty="0">
                <a:solidFill>
                  <a:schemeClr val="accent1"/>
                </a:solidFill>
                <a:latin typeface="Century Gothic" panose="020B0502020202020204" pitchFamily="34" charset="0"/>
              </a:rPr>
              <a:t>%</a:t>
            </a:r>
            <a:endParaRPr lang="en-GB" sz="4800" b="1" dirty="0">
              <a:solidFill>
                <a:schemeClr val="accent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6D82D4-3B9B-F60E-39F9-4BEF71CFD9E7}"/>
              </a:ext>
            </a:extLst>
          </p:cNvPr>
          <p:cNvSpPr txBox="1"/>
          <p:nvPr/>
        </p:nvSpPr>
        <p:spPr>
          <a:xfrm>
            <a:off x="7956512" y="5414179"/>
            <a:ext cx="27523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Engagement Rat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03A983E-1A7F-DD66-86A7-57A2BB37E06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61069">
            <a:off x="8445532" y="2514527"/>
            <a:ext cx="2023447" cy="1977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74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9F126C-6518-AF93-3836-F1BBD8C41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metrics for retail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85D0DB-2240-9EE6-F0CA-6656EBECEE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In June to August at Back to School trading time retail mail performs well against averag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0E79D-4AB8-C220-0C80-1A925221B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5F9EEB-4E8E-2FE5-4E17-2EE3EB172E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742</a:t>
            </a:r>
          </a:p>
        </p:txBody>
      </p:sp>
      <p:grpSp>
        <p:nvGrpSpPr>
          <p:cNvPr id="7" name="Loop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DDF829-A265-D1C0-4A00-AE30B1F3557C}"/>
              </a:ext>
            </a:extLst>
          </p:cNvPr>
          <p:cNvGrpSpPr>
            <a:grpSpLocks noChangeAspect="1"/>
          </p:cNvGrpSpPr>
          <p:nvPr/>
        </p:nvGrpSpPr>
        <p:grpSpPr>
          <a:xfrm flipV="1">
            <a:off x="3586917" y="2524692"/>
            <a:ext cx="1663935" cy="1750293"/>
            <a:chOff x="6855725" y="2321521"/>
            <a:chExt cx="914400" cy="961857"/>
          </a:xfrm>
        </p:grpSpPr>
        <p:sp>
          <p:nvSpPr>
            <p:cNvPr id="8" name="Arc 7">
              <a:extLst>
                <a:ext uri="{FF2B5EF4-FFF2-40B4-BE49-F238E27FC236}">
                  <a16:creationId xmlns:a16="http://schemas.microsoft.com/office/drawing/2014/main" id="{FB7A315A-C367-3ECC-F8F4-B00DFF2DD21F}"/>
                </a:ext>
              </a:extLst>
            </p:cNvPr>
            <p:cNvSpPr/>
            <p:nvPr/>
          </p:nvSpPr>
          <p:spPr>
            <a:xfrm rot="10860000">
              <a:off x="6855725" y="2368978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Arc 8">
              <a:extLst>
                <a:ext uri="{FF2B5EF4-FFF2-40B4-BE49-F238E27FC236}">
                  <a16:creationId xmlns:a16="http://schemas.microsoft.com/office/drawing/2014/main" id="{CCB79BDD-6F78-781D-8A3A-0EC516C9327C}"/>
                </a:ext>
              </a:extLst>
            </p:cNvPr>
            <p:cNvSpPr/>
            <p:nvPr/>
          </p:nvSpPr>
          <p:spPr>
            <a:xfrm rot="16260000">
              <a:off x="6855725" y="2353159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Arc 9">
              <a:extLst>
                <a:ext uri="{FF2B5EF4-FFF2-40B4-BE49-F238E27FC236}">
                  <a16:creationId xmlns:a16="http://schemas.microsoft.com/office/drawing/2014/main" id="{08F5FF19-932F-7201-77BA-57CF5CC858FF}"/>
                </a:ext>
              </a:extLst>
            </p:cNvPr>
            <p:cNvSpPr/>
            <p:nvPr/>
          </p:nvSpPr>
          <p:spPr>
            <a:xfrm rot="60000">
              <a:off x="6855725" y="2337340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accent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Arc 10">
              <a:extLst>
                <a:ext uri="{FF2B5EF4-FFF2-40B4-BE49-F238E27FC236}">
                  <a16:creationId xmlns:a16="http://schemas.microsoft.com/office/drawing/2014/main" id="{E7544D03-E1CC-04EE-8B9E-1481F5FD8FFA}"/>
                </a:ext>
              </a:extLst>
            </p:cNvPr>
            <p:cNvSpPr/>
            <p:nvPr/>
          </p:nvSpPr>
          <p:spPr>
            <a:xfrm rot="5460000">
              <a:off x="6855725" y="2321521"/>
              <a:ext cx="914400" cy="914400"/>
            </a:xfrm>
            <a:prstGeom prst="arc">
              <a:avLst>
                <a:gd name="adj1" fmla="val 13793950"/>
                <a:gd name="adj2" fmla="val 17925109"/>
              </a:avLst>
            </a:prstGeom>
            <a:ln w="762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1298070-F1DE-4A41-B188-290A982F124E}"/>
              </a:ext>
            </a:extLst>
          </p:cNvPr>
          <p:cNvGrpSpPr/>
          <p:nvPr/>
        </p:nvGrpSpPr>
        <p:grpSpPr>
          <a:xfrm>
            <a:off x="867310" y="2548229"/>
            <a:ext cx="1785786" cy="1703218"/>
            <a:chOff x="6791322" y="2606349"/>
            <a:chExt cx="939388" cy="895954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8020667-2CCB-FCF0-287D-F5718209FCBA}"/>
                </a:ext>
              </a:extLst>
            </p:cNvPr>
            <p:cNvSpPr/>
            <p:nvPr/>
          </p:nvSpPr>
          <p:spPr>
            <a:xfrm>
              <a:off x="6791322" y="2625640"/>
              <a:ext cx="857779" cy="857780"/>
            </a:xfrm>
            <a:prstGeom prst="ellipse">
              <a:avLst/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D34948F-4862-C96B-C79F-8BE7EAFEEC86}"/>
                </a:ext>
              </a:extLst>
            </p:cNvPr>
            <p:cNvSpPr/>
            <p:nvPr/>
          </p:nvSpPr>
          <p:spPr>
            <a:xfrm>
              <a:off x="6894011" y="2606349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1E1289-6EF4-D5D6-8D50-667B88F68B25}"/>
                </a:ext>
              </a:extLst>
            </p:cNvPr>
            <p:cNvSpPr/>
            <p:nvPr/>
          </p:nvSpPr>
          <p:spPr>
            <a:xfrm>
              <a:off x="6894010" y="3303380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7A96EA3-7E99-B5D1-9394-423D12740389}"/>
                </a:ext>
              </a:extLst>
            </p:cNvPr>
            <p:cNvSpPr/>
            <p:nvPr/>
          </p:nvSpPr>
          <p:spPr>
            <a:xfrm>
              <a:off x="7531787" y="2955067"/>
              <a:ext cx="198923" cy="198923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328DFC19-9956-9C4A-5A2C-DB270B1E1DF8}"/>
              </a:ext>
            </a:extLst>
          </p:cNvPr>
          <p:cNvSpPr txBox="1"/>
          <p:nvPr/>
        </p:nvSpPr>
        <p:spPr>
          <a:xfrm>
            <a:off x="3241027" y="4295415"/>
            <a:ext cx="235571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Frequency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times mail returned t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2112874-405A-9398-BF34-E2B4BD108B28}"/>
              </a:ext>
            </a:extLst>
          </p:cNvPr>
          <p:cNvSpPr txBox="1"/>
          <p:nvPr/>
        </p:nvSpPr>
        <p:spPr>
          <a:xfrm>
            <a:off x="3800200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4.3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C111427-85F4-0AC5-6387-52F93254A338}"/>
              </a:ext>
            </a:extLst>
          </p:cNvPr>
          <p:cNvSpPr txBox="1"/>
          <p:nvPr/>
        </p:nvSpPr>
        <p:spPr>
          <a:xfrm>
            <a:off x="1029382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.17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C5393D-940F-FEA4-14ED-4C7461BE835E}"/>
              </a:ext>
            </a:extLst>
          </p:cNvPr>
          <p:cNvSpPr txBox="1"/>
          <p:nvPr/>
        </p:nvSpPr>
        <p:spPr>
          <a:xfrm>
            <a:off x="46456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Reach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Number of people who see mail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3122C7D-8F0E-ABEF-1121-CBE31EB7ACC5}"/>
              </a:ext>
            </a:extLst>
          </p:cNvPr>
          <p:cNvSpPr txBox="1"/>
          <p:nvPr/>
        </p:nvSpPr>
        <p:spPr>
          <a:xfrm>
            <a:off x="5781922" y="4268855"/>
            <a:ext cx="259128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Attention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Average number of minutes and seconds attention per mail ite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6054FB-3067-416C-D8AE-A26D0C56D0DE}"/>
              </a:ext>
            </a:extLst>
          </p:cNvPr>
          <p:cNvSpPr txBox="1"/>
          <p:nvPr/>
        </p:nvSpPr>
        <p:spPr>
          <a:xfrm>
            <a:off x="6433004" y="3048138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400" b="1" dirty="0">
                <a:latin typeface="+mj-lt"/>
              </a:rPr>
              <a:t>2:43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A6DD8E1-9396-34E4-CD63-56EA33E3F854}"/>
              </a:ext>
            </a:extLst>
          </p:cNvPr>
          <p:cNvGrpSpPr/>
          <p:nvPr/>
        </p:nvGrpSpPr>
        <p:grpSpPr>
          <a:xfrm>
            <a:off x="6223171" y="2292424"/>
            <a:ext cx="1708788" cy="1976431"/>
            <a:chOff x="5524411" y="551421"/>
            <a:chExt cx="2067634" cy="2391481"/>
          </a:xfrm>
        </p:grpSpPr>
        <p:sp>
          <p:nvSpPr>
            <p:cNvPr id="24" name="Freeform 928">
              <a:extLst>
                <a:ext uri="{FF2B5EF4-FFF2-40B4-BE49-F238E27FC236}">
                  <a16:creationId xmlns:a16="http://schemas.microsoft.com/office/drawing/2014/main" id="{3AFC9875-D88E-9B92-3FCB-0D95C10A0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102" y="974912"/>
              <a:ext cx="311395" cy="311395"/>
            </a:xfrm>
            <a:custGeom>
              <a:avLst/>
              <a:gdLst>
                <a:gd name="T0" fmla="*/ 14 w 25"/>
                <a:gd name="T1" fmla="*/ 25 h 25"/>
                <a:gd name="T2" fmla="*/ 9 w 25"/>
                <a:gd name="T3" fmla="*/ 20 h 25"/>
                <a:gd name="T4" fmla="*/ 16 w 25"/>
                <a:gd name="T5" fmla="*/ 14 h 25"/>
                <a:gd name="T6" fmla="*/ 12 w 25"/>
                <a:gd name="T7" fmla="*/ 9 h 25"/>
                <a:gd name="T8" fmla="*/ 5 w 25"/>
                <a:gd name="T9" fmla="*/ 16 h 25"/>
                <a:gd name="T10" fmla="*/ 0 w 25"/>
                <a:gd name="T11" fmla="*/ 12 h 25"/>
                <a:gd name="T12" fmla="*/ 12 w 25"/>
                <a:gd name="T13" fmla="*/ 0 h 25"/>
                <a:gd name="T14" fmla="*/ 25 w 25"/>
                <a:gd name="T15" fmla="*/ 14 h 25"/>
                <a:gd name="T16" fmla="*/ 14 w 25"/>
                <a:gd name="T1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14" y="25"/>
                  </a:moveTo>
                  <a:lnTo>
                    <a:pt x="9" y="20"/>
                  </a:lnTo>
                  <a:lnTo>
                    <a:pt x="16" y="14"/>
                  </a:lnTo>
                  <a:lnTo>
                    <a:pt x="12" y="9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5" y="14"/>
                  </a:lnTo>
                  <a:lnTo>
                    <a:pt x="14" y="2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930">
              <a:extLst>
                <a:ext uri="{FF2B5EF4-FFF2-40B4-BE49-F238E27FC236}">
                  <a16:creationId xmlns:a16="http://schemas.microsoft.com/office/drawing/2014/main" id="{EAF2911E-1689-F174-9458-B5D1C1270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3676" y="713348"/>
              <a:ext cx="236661" cy="199290"/>
            </a:xfrm>
            <a:custGeom>
              <a:avLst/>
              <a:gdLst>
                <a:gd name="T0" fmla="*/ 19 w 19"/>
                <a:gd name="T1" fmla="*/ 16 h 16"/>
                <a:gd name="T2" fmla="*/ 13 w 19"/>
                <a:gd name="T3" fmla="*/ 16 h 16"/>
                <a:gd name="T4" fmla="*/ 13 w 19"/>
                <a:gd name="T5" fmla="*/ 6 h 16"/>
                <a:gd name="T6" fmla="*/ 7 w 19"/>
                <a:gd name="T7" fmla="*/ 6 h 16"/>
                <a:gd name="T8" fmla="*/ 7 w 19"/>
                <a:gd name="T9" fmla="*/ 16 h 16"/>
                <a:gd name="T10" fmla="*/ 0 w 19"/>
                <a:gd name="T11" fmla="*/ 16 h 16"/>
                <a:gd name="T12" fmla="*/ 0 w 19"/>
                <a:gd name="T13" fmla="*/ 0 h 16"/>
                <a:gd name="T14" fmla="*/ 19 w 19"/>
                <a:gd name="T15" fmla="*/ 0 h 16"/>
                <a:gd name="T16" fmla="*/ 19 w 19"/>
                <a:gd name="T1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6">
                  <a:moveTo>
                    <a:pt x="19" y="16"/>
                  </a:moveTo>
                  <a:lnTo>
                    <a:pt x="13" y="16"/>
                  </a:lnTo>
                  <a:lnTo>
                    <a:pt x="13" y="6"/>
                  </a:lnTo>
                  <a:lnTo>
                    <a:pt x="7" y="6"/>
                  </a:ln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9" y="0"/>
                  </a:lnTo>
                  <a:lnTo>
                    <a:pt x="19" y="1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931">
              <a:extLst>
                <a:ext uri="{FF2B5EF4-FFF2-40B4-BE49-F238E27FC236}">
                  <a16:creationId xmlns:a16="http://schemas.microsoft.com/office/drawing/2014/main" id="{EB4FB552-5247-9BDC-7FD8-FC6F1043AA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6482" y="551421"/>
              <a:ext cx="423491" cy="236661"/>
            </a:xfrm>
            <a:custGeom>
              <a:avLst/>
              <a:gdLst>
                <a:gd name="T0" fmla="*/ 17 w 90"/>
                <a:gd name="T1" fmla="*/ 34 h 50"/>
                <a:gd name="T2" fmla="*/ 73 w 90"/>
                <a:gd name="T3" fmla="*/ 34 h 50"/>
                <a:gd name="T4" fmla="*/ 73 w 90"/>
                <a:gd name="T5" fmla="*/ 17 h 50"/>
                <a:gd name="T6" fmla="*/ 17 w 90"/>
                <a:gd name="T7" fmla="*/ 17 h 50"/>
                <a:gd name="T8" fmla="*/ 17 w 90"/>
                <a:gd name="T9" fmla="*/ 34 h 50"/>
                <a:gd name="T10" fmla="*/ 90 w 90"/>
                <a:gd name="T11" fmla="*/ 50 h 50"/>
                <a:gd name="T12" fmla="*/ 0 w 90"/>
                <a:gd name="T13" fmla="*/ 50 h 50"/>
                <a:gd name="T14" fmla="*/ 0 w 90"/>
                <a:gd name="T15" fmla="*/ 0 h 50"/>
                <a:gd name="T16" fmla="*/ 90 w 90"/>
                <a:gd name="T17" fmla="*/ 0 h 50"/>
                <a:gd name="T18" fmla="*/ 90 w 90"/>
                <a:gd name="T1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0" h="50">
                  <a:moveTo>
                    <a:pt x="17" y="34"/>
                  </a:moveTo>
                  <a:lnTo>
                    <a:pt x="73" y="34"/>
                  </a:lnTo>
                  <a:lnTo>
                    <a:pt x="73" y="17"/>
                  </a:lnTo>
                  <a:lnTo>
                    <a:pt x="17" y="17"/>
                  </a:lnTo>
                  <a:lnTo>
                    <a:pt x="17" y="34"/>
                  </a:lnTo>
                  <a:close/>
                  <a:moveTo>
                    <a:pt x="90" y="50"/>
                  </a:moveTo>
                  <a:lnTo>
                    <a:pt x="0" y="50"/>
                  </a:lnTo>
                  <a:lnTo>
                    <a:pt x="0" y="0"/>
                  </a:lnTo>
                  <a:lnTo>
                    <a:pt x="90" y="0"/>
                  </a:lnTo>
                  <a:lnTo>
                    <a:pt x="90" y="5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932">
              <a:extLst>
                <a:ext uri="{FF2B5EF4-FFF2-40B4-BE49-F238E27FC236}">
                  <a16:creationId xmlns:a16="http://schemas.microsoft.com/office/drawing/2014/main" id="{4C2100CA-DC0B-9313-9A38-FB15DD8B01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24411" y="875267"/>
              <a:ext cx="2067634" cy="2067635"/>
            </a:xfrm>
            <a:custGeom>
              <a:avLst/>
              <a:gdLst>
                <a:gd name="T0" fmla="*/ 216 w 433"/>
                <a:gd name="T1" fmla="*/ 17 h 433"/>
                <a:gd name="T2" fmla="*/ 16 w 433"/>
                <a:gd name="T3" fmla="*/ 217 h 433"/>
                <a:gd name="T4" fmla="*/ 216 w 433"/>
                <a:gd name="T5" fmla="*/ 417 h 433"/>
                <a:gd name="T6" fmla="*/ 416 w 433"/>
                <a:gd name="T7" fmla="*/ 217 h 433"/>
                <a:gd name="T8" fmla="*/ 216 w 433"/>
                <a:gd name="T9" fmla="*/ 17 h 433"/>
                <a:gd name="T10" fmla="*/ 216 w 433"/>
                <a:gd name="T11" fmla="*/ 433 h 433"/>
                <a:gd name="T12" fmla="*/ 0 w 433"/>
                <a:gd name="T13" fmla="*/ 217 h 433"/>
                <a:gd name="T14" fmla="*/ 216 w 433"/>
                <a:gd name="T15" fmla="*/ 0 h 433"/>
                <a:gd name="T16" fmla="*/ 433 w 433"/>
                <a:gd name="T17" fmla="*/ 217 h 433"/>
                <a:gd name="T18" fmla="*/ 216 w 433"/>
                <a:gd name="T1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3" h="433">
                  <a:moveTo>
                    <a:pt x="216" y="17"/>
                  </a:moveTo>
                  <a:cubicBezTo>
                    <a:pt x="106" y="17"/>
                    <a:pt x="16" y="107"/>
                    <a:pt x="16" y="217"/>
                  </a:cubicBezTo>
                  <a:cubicBezTo>
                    <a:pt x="16" y="327"/>
                    <a:pt x="106" y="417"/>
                    <a:pt x="216" y="417"/>
                  </a:cubicBezTo>
                  <a:cubicBezTo>
                    <a:pt x="326" y="417"/>
                    <a:pt x="416" y="327"/>
                    <a:pt x="416" y="217"/>
                  </a:cubicBezTo>
                  <a:cubicBezTo>
                    <a:pt x="416" y="107"/>
                    <a:pt x="326" y="17"/>
                    <a:pt x="216" y="17"/>
                  </a:cubicBezTo>
                  <a:close/>
                  <a:moveTo>
                    <a:pt x="216" y="433"/>
                  </a:moveTo>
                  <a:cubicBezTo>
                    <a:pt x="97" y="433"/>
                    <a:pt x="0" y="336"/>
                    <a:pt x="0" y="217"/>
                  </a:cubicBezTo>
                  <a:cubicBezTo>
                    <a:pt x="0" y="97"/>
                    <a:pt x="97" y="0"/>
                    <a:pt x="216" y="0"/>
                  </a:cubicBezTo>
                  <a:cubicBezTo>
                    <a:pt x="335" y="0"/>
                    <a:pt x="433" y="97"/>
                    <a:pt x="433" y="217"/>
                  </a:cubicBezTo>
                  <a:cubicBezTo>
                    <a:pt x="433" y="336"/>
                    <a:pt x="335" y="433"/>
                    <a:pt x="216" y="433"/>
                  </a:cubicBezTo>
                </a:path>
              </a:pathLst>
            </a:custGeom>
            <a:solidFill>
              <a:schemeClr val="tx1"/>
            </a:solidFill>
            <a:ln w="1905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22B1FE0-8EB0-DCD6-5946-0B577D288EE3}"/>
              </a:ext>
            </a:extLst>
          </p:cNvPr>
          <p:cNvGrpSpPr/>
          <p:nvPr/>
        </p:nvGrpSpPr>
        <p:grpSpPr>
          <a:xfrm>
            <a:off x="8962831" y="2382532"/>
            <a:ext cx="1782404" cy="1737656"/>
            <a:chOff x="7336432" y="2633196"/>
            <a:chExt cx="755569" cy="736600"/>
          </a:xfrm>
        </p:grpSpPr>
        <p:sp>
          <p:nvSpPr>
            <p:cNvPr id="29" name="Freeform 939">
              <a:extLst>
                <a:ext uri="{FF2B5EF4-FFF2-40B4-BE49-F238E27FC236}">
                  <a16:creationId xmlns:a16="http://schemas.microsoft.com/office/drawing/2014/main" id="{DEF88DFC-EFAE-A22F-F7C0-7A66E0DFCC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9145" y="2971463"/>
              <a:ext cx="606984" cy="398333"/>
            </a:xfrm>
            <a:custGeom>
              <a:avLst/>
              <a:gdLst>
                <a:gd name="T0" fmla="*/ 2307 w 2385"/>
                <a:gd name="T1" fmla="*/ 1567 h 1567"/>
                <a:gd name="T2" fmla="*/ 73 w 2385"/>
                <a:gd name="T3" fmla="*/ 1567 h 1567"/>
                <a:gd name="T4" fmla="*/ 0 w 2385"/>
                <a:gd name="T5" fmla="*/ 1494 h 1567"/>
                <a:gd name="T6" fmla="*/ 0 w 2385"/>
                <a:gd name="T7" fmla="*/ 72 h 1567"/>
                <a:gd name="T8" fmla="*/ 73 w 2385"/>
                <a:gd name="T9" fmla="*/ 0 h 1567"/>
                <a:gd name="T10" fmla="*/ 145 w 2385"/>
                <a:gd name="T11" fmla="*/ 72 h 1567"/>
                <a:gd name="T12" fmla="*/ 145 w 2385"/>
                <a:gd name="T13" fmla="*/ 1422 h 1567"/>
                <a:gd name="T14" fmla="*/ 2234 w 2385"/>
                <a:gd name="T15" fmla="*/ 1422 h 1567"/>
                <a:gd name="T16" fmla="*/ 2240 w 2385"/>
                <a:gd name="T17" fmla="*/ 102 h 1567"/>
                <a:gd name="T18" fmla="*/ 2312 w 2385"/>
                <a:gd name="T19" fmla="*/ 30 h 1567"/>
                <a:gd name="T20" fmla="*/ 2313 w 2385"/>
                <a:gd name="T21" fmla="*/ 30 h 1567"/>
                <a:gd name="T22" fmla="*/ 2384 w 2385"/>
                <a:gd name="T23" fmla="*/ 103 h 1567"/>
                <a:gd name="T24" fmla="*/ 2379 w 2385"/>
                <a:gd name="T25" fmla="*/ 1494 h 1567"/>
                <a:gd name="T26" fmla="*/ 2307 w 2385"/>
                <a:gd name="T27" fmla="*/ 1567 h 1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85" h="1567">
                  <a:moveTo>
                    <a:pt x="2307" y="1567"/>
                  </a:moveTo>
                  <a:lnTo>
                    <a:pt x="73" y="1567"/>
                  </a:lnTo>
                  <a:cubicBezTo>
                    <a:pt x="33" y="1567"/>
                    <a:pt x="0" y="1534"/>
                    <a:pt x="0" y="1494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1422"/>
                  </a:lnTo>
                  <a:lnTo>
                    <a:pt x="2234" y="1422"/>
                  </a:lnTo>
                  <a:lnTo>
                    <a:pt x="2240" y="102"/>
                  </a:lnTo>
                  <a:cubicBezTo>
                    <a:pt x="2240" y="63"/>
                    <a:pt x="2272" y="30"/>
                    <a:pt x="2312" y="30"/>
                  </a:cubicBezTo>
                  <a:lnTo>
                    <a:pt x="2313" y="30"/>
                  </a:lnTo>
                  <a:cubicBezTo>
                    <a:pt x="2352" y="30"/>
                    <a:pt x="2385" y="63"/>
                    <a:pt x="2384" y="103"/>
                  </a:cubicBezTo>
                  <a:lnTo>
                    <a:pt x="2379" y="1494"/>
                  </a:lnTo>
                  <a:cubicBezTo>
                    <a:pt x="2379" y="1534"/>
                    <a:pt x="2347" y="1567"/>
                    <a:pt x="2307" y="1567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40">
              <a:extLst>
                <a:ext uri="{FF2B5EF4-FFF2-40B4-BE49-F238E27FC236}">
                  <a16:creationId xmlns:a16="http://schemas.microsoft.com/office/drawing/2014/main" id="{A24D0491-06F7-2E4C-8A0D-CB9FCECDBF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2384" y="2857654"/>
              <a:ext cx="129617" cy="113809"/>
            </a:xfrm>
            <a:custGeom>
              <a:avLst/>
              <a:gdLst>
                <a:gd name="T0" fmla="*/ 431 w 513"/>
                <a:gd name="T1" fmla="*/ 448 h 448"/>
                <a:gd name="T2" fmla="*/ 385 w 513"/>
                <a:gd name="T3" fmla="*/ 430 h 448"/>
                <a:gd name="T4" fmla="*/ 35 w 513"/>
                <a:gd name="T5" fmla="*/ 137 h 448"/>
                <a:gd name="T6" fmla="*/ 26 w 513"/>
                <a:gd name="T7" fmla="*/ 35 h 448"/>
                <a:gd name="T8" fmla="*/ 128 w 513"/>
                <a:gd name="T9" fmla="*/ 26 h 448"/>
                <a:gd name="T10" fmla="*/ 478 w 513"/>
                <a:gd name="T11" fmla="*/ 320 h 448"/>
                <a:gd name="T12" fmla="*/ 487 w 513"/>
                <a:gd name="T13" fmla="*/ 422 h 448"/>
                <a:gd name="T14" fmla="*/ 431 w 513"/>
                <a:gd name="T15" fmla="*/ 448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3" h="448">
                  <a:moveTo>
                    <a:pt x="431" y="448"/>
                  </a:moveTo>
                  <a:cubicBezTo>
                    <a:pt x="415" y="448"/>
                    <a:pt x="399" y="442"/>
                    <a:pt x="385" y="430"/>
                  </a:cubicBezTo>
                  <a:lnTo>
                    <a:pt x="35" y="137"/>
                  </a:lnTo>
                  <a:cubicBezTo>
                    <a:pt x="4" y="111"/>
                    <a:pt x="0" y="66"/>
                    <a:pt x="26" y="35"/>
                  </a:cubicBezTo>
                  <a:cubicBezTo>
                    <a:pt x="52" y="4"/>
                    <a:pt x="97" y="0"/>
                    <a:pt x="128" y="26"/>
                  </a:cubicBezTo>
                  <a:lnTo>
                    <a:pt x="478" y="320"/>
                  </a:lnTo>
                  <a:cubicBezTo>
                    <a:pt x="509" y="345"/>
                    <a:pt x="513" y="391"/>
                    <a:pt x="487" y="422"/>
                  </a:cubicBezTo>
                  <a:cubicBezTo>
                    <a:pt x="473" y="439"/>
                    <a:pt x="452" y="448"/>
                    <a:pt x="431" y="44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941">
              <a:extLst>
                <a:ext uri="{FF2B5EF4-FFF2-40B4-BE49-F238E27FC236}">
                  <a16:creationId xmlns:a16="http://schemas.microsoft.com/office/drawing/2014/main" id="{0F5934E2-1D0C-32FD-35B9-F662D7EB99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6432" y="2633196"/>
              <a:ext cx="572209" cy="325622"/>
            </a:xfrm>
            <a:custGeom>
              <a:avLst/>
              <a:gdLst>
                <a:gd name="T0" fmla="*/ 82 w 2256"/>
                <a:gd name="T1" fmla="*/ 1285 h 1285"/>
                <a:gd name="T2" fmla="*/ 25 w 2256"/>
                <a:gd name="T3" fmla="*/ 1258 h 1285"/>
                <a:gd name="T4" fmla="*/ 36 w 2256"/>
                <a:gd name="T5" fmla="*/ 1156 h 1285"/>
                <a:gd name="T6" fmla="*/ 1449 w 2256"/>
                <a:gd name="T7" fmla="*/ 22 h 1285"/>
                <a:gd name="T8" fmla="*/ 1541 w 2256"/>
                <a:gd name="T9" fmla="*/ 23 h 1285"/>
                <a:gd name="T10" fmla="*/ 2221 w 2256"/>
                <a:gd name="T11" fmla="*/ 597 h 1285"/>
                <a:gd name="T12" fmla="*/ 2230 w 2256"/>
                <a:gd name="T13" fmla="*/ 699 h 1285"/>
                <a:gd name="T14" fmla="*/ 2128 w 2256"/>
                <a:gd name="T15" fmla="*/ 708 h 1285"/>
                <a:gd name="T16" fmla="*/ 1492 w 2256"/>
                <a:gd name="T17" fmla="*/ 172 h 1285"/>
                <a:gd name="T18" fmla="*/ 127 w 2256"/>
                <a:gd name="T19" fmla="*/ 1269 h 1285"/>
                <a:gd name="T20" fmla="*/ 82 w 2256"/>
                <a:gd name="T21" fmla="*/ 1285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56" h="1285">
                  <a:moveTo>
                    <a:pt x="82" y="1285"/>
                  </a:moveTo>
                  <a:cubicBezTo>
                    <a:pt x="61" y="1285"/>
                    <a:pt x="40" y="1276"/>
                    <a:pt x="25" y="1258"/>
                  </a:cubicBezTo>
                  <a:cubicBezTo>
                    <a:pt x="0" y="1227"/>
                    <a:pt x="5" y="1181"/>
                    <a:pt x="36" y="1156"/>
                  </a:cubicBezTo>
                  <a:lnTo>
                    <a:pt x="1449" y="22"/>
                  </a:lnTo>
                  <a:cubicBezTo>
                    <a:pt x="1476" y="0"/>
                    <a:pt x="1514" y="1"/>
                    <a:pt x="1541" y="23"/>
                  </a:cubicBezTo>
                  <a:cubicBezTo>
                    <a:pt x="1544" y="26"/>
                    <a:pt x="1906" y="333"/>
                    <a:pt x="2221" y="597"/>
                  </a:cubicBezTo>
                  <a:cubicBezTo>
                    <a:pt x="2251" y="623"/>
                    <a:pt x="2256" y="669"/>
                    <a:pt x="2230" y="699"/>
                  </a:cubicBezTo>
                  <a:cubicBezTo>
                    <a:pt x="2204" y="730"/>
                    <a:pt x="2158" y="734"/>
                    <a:pt x="2128" y="708"/>
                  </a:cubicBezTo>
                  <a:cubicBezTo>
                    <a:pt x="1879" y="500"/>
                    <a:pt x="1600" y="264"/>
                    <a:pt x="1492" y="172"/>
                  </a:cubicBezTo>
                  <a:lnTo>
                    <a:pt x="127" y="1269"/>
                  </a:lnTo>
                  <a:cubicBezTo>
                    <a:pt x="114" y="1280"/>
                    <a:pt x="98" y="1285"/>
                    <a:pt x="82" y="128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942">
              <a:extLst>
                <a:ext uri="{FF2B5EF4-FFF2-40B4-BE49-F238E27FC236}">
                  <a16:creationId xmlns:a16="http://schemas.microsoft.com/office/drawing/2014/main" id="{228583CD-1918-282C-47A3-60A16DD2E05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2901" y="2664810"/>
              <a:ext cx="37936" cy="221296"/>
            </a:xfrm>
            <a:custGeom>
              <a:avLst/>
              <a:gdLst>
                <a:gd name="T0" fmla="*/ 73 w 145"/>
                <a:gd name="T1" fmla="*/ 864 h 864"/>
                <a:gd name="T2" fmla="*/ 0 w 145"/>
                <a:gd name="T3" fmla="*/ 791 h 864"/>
                <a:gd name="T4" fmla="*/ 0 w 145"/>
                <a:gd name="T5" fmla="*/ 72 h 864"/>
                <a:gd name="T6" fmla="*/ 73 w 145"/>
                <a:gd name="T7" fmla="*/ 0 h 864"/>
                <a:gd name="T8" fmla="*/ 145 w 145"/>
                <a:gd name="T9" fmla="*/ 72 h 864"/>
                <a:gd name="T10" fmla="*/ 145 w 145"/>
                <a:gd name="T11" fmla="*/ 791 h 864"/>
                <a:gd name="T12" fmla="*/ 73 w 145"/>
                <a:gd name="T13" fmla="*/ 864 h 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864">
                  <a:moveTo>
                    <a:pt x="73" y="864"/>
                  </a:moveTo>
                  <a:cubicBezTo>
                    <a:pt x="33" y="864"/>
                    <a:pt x="0" y="831"/>
                    <a:pt x="0" y="791"/>
                  </a:cubicBezTo>
                  <a:lnTo>
                    <a:pt x="0" y="72"/>
                  </a:lnTo>
                  <a:cubicBezTo>
                    <a:pt x="0" y="32"/>
                    <a:pt x="33" y="0"/>
                    <a:pt x="73" y="0"/>
                  </a:cubicBezTo>
                  <a:cubicBezTo>
                    <a:pt x="113" y="0"/>
                    <a:pt x="145" y="32"/>
                    <a:pt x="145" y="72"/>
                  </a:cubicBezTo>
                  <a:lnTo>
                    <a:pt x="145" y="791"/>
                  </a:lnTo>
                  <a:cubicBezTo>
                    <a:pt x="145" y="831"/>
                    <a:pt x="113" y="864"/>
                    <a:pt x="73" y="86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943">
              <a:extLst>
                <a:ext uri="{FF2B5EF4-FFF2-40B4-BE49-F238E27FC236}">
                  <a16:creationId xmlns:a16="http://schemas.microsoft.com/office/drawing/2014/main" id="{FF021F77-90AA-7D21-8276-0B0DB3B17B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67543" y="2702746"/>
              <a:ext cx="37936" cy="113809"/>
            </a:xfrm>
            <a:custGeom>
              <a:avLst/>
              <a:gdLst>
                <a:gd name="T0" fmla="*/ 72 w 145"/>
                <a:gd name="T1" fmla="*/ 446 h 446"/>
                <a:gd name="T2" fmla="*/ 0 w 145"/>
                <a:gd name="T3" fmla="*/ 374 h 446"/>
                <a:gd name="T4" fmla="*/ 0 w 145"/>
                <a:gd name="T5" fmla="*/ 72 h 446"/>
                <a:gd name="T6" fmla="*/ 72 w 145"/>
                <a:gd name="T7" fmla="*/ 0 h 446"/>
                <a:gd name="T8" fmla="*/ 145 w 145"/>
                <a:gd name="T9" fmla="*/ 72 h 446"/>
                <a:gd name="T10" fmla="*/ 145 w 145"/>
                <a:gd name="T11" fmla="*/ 374 h 446"/>
                <a:gd name="T12" fmla="*/ 72 w 145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5" h="446">
                  <a:moveTo>
                    <a:pt x="72" y="446"/>
                  </a:moveTo>
                  <a:cubicBezTo>
                    <a:pt x="32" y="446"/>
                    <a:pt x="0" y="414"/>
                    <a:pt x="0" y="374"/>
                  </a:cubicBezTo>
                  <a:lnTo>
                    <a:pt x="0" y="72"/>
                  </a:lnTo>
                  <a:cubicBezTo>
                    <a:pt x="0" y="33"/>
                    <a:pt x="32" y="0"/>
                    <a:pt x="72" y="0"/>
                  </a:cubicBezTo>
                  <a:cubicBezTo>
                    <a:pt x="112" y="0"/>
                    <a:pt x="145" y="33"/>
                    <a:pt x="145" y="72"/>
                  </a:cubicBezTo>
                  <a:lnTo>
                    <a:pt x="145" y="374"/>
                  </a:lnTo>
                  <a:cubicBezTo>
                    <a:pt x="145" y="414"/>
                    <a:pt x="112" y="446"/>
                    <a:pt x="72" y="446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944">
              <a:extLst>
                <a:ext uri="{FF2B5EF4-FFF2-40B4-BE49-F238E27FC236}">
                  <a16:creationId xmlns:a16="http://schemas.microsoft.com/office/drawing/2014/main" id="{95AA3A6C-38C4-3678-D5B2-247878F72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2" y="2649004"/>
              <a:ext cx="170714" cy="34776"/>
            </a:xfrm>
            <a:custGeom>
              <a:avLst/>
              <a:gdLst>
                <a:gd name="T0" fmla="*/ 591 w 664"/>
                <a:gd name="T1" fmla="*/ 145 h 145"/>
                <a:gd name="T2" fmla="*/ 73 w 664"/>
                <a:gd name="T3" fmla="*/ 145 h 145"/>
                <a:gd name="T4" fmla="*/ 0 w 664"/>
                <a:gd name="T5" fmla="*/ 72 h 145"/>
                <a:gd name="T6" fmla="*/ 73 w 664"/>
                <a:gd name="T7" fmla="*/ 0 h 145"/>
                <a:gd name="T8" fmla="*/ 591 w 664"/>
                <a:gd name="T9" fmla="*/ 0 h 145"/>
                <a:gd name="T10" fmla="*/ 664 w 664"/>
                <a:gd name="T11" fmla="*/ 72 h 145"/>
                <a:gd name="T12" fmla="*/ 591 w 664"/>
                <a:gd name="T1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4" h="145">
                  <a:moveTo>
                    <a:pt x="591" y="145"/>
                  </a:moveTo>
                  <a:lnTo>
                    <a:pt x="73" y="145"/>
                  </a:lnTo>
                  <a:cubicBezTo>
                    <a:pt x="33" y="145"/>
                    <a:pt x="0" y="112"/>
                    <a:pt x="0" y="72"/>
                  </a:cubicBezTo>
                  <a:cubicBezTo>
                    <a:pt x="0" y="32"/>
                    <a:pt x="33" y="0"/>
                    <a:pt x="73" y="0"/>
                  </a:cubicBezTo>
                  <a:lnTo>
                    <a:pt x="591" y="0"/>
                  </a:lnTo>
                  <a:cubicBezTo>
                    <a:pt x="631" y="0"/>
                    <a:pt x="664" y="32"/>
                    <a:pt x="664" y="72"/>
                  </a:cubicBezTo>
                  <a:cubicBezTo>
                    <a:pt x="664" y="112"/>
                    <a:pt x="631" y="145"/>
                    <a:pt x="591" y="145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945">
              <a:extLst>
                <a:ext uri="{FF2B5EF4-FFF2-40B4-BE49-F238E27FC236}">
                  <a16:creationId xmlns:a16="http://schemas.microsoft.com/office/drawing/2014/main" id="{70D76ED3-4F77-6569-F8AA-5A16A37F3E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05982" y="2743845"/>
              <a:ext cx="613306" cy="275040"/>
            </a:xfrm>
            <a:custGeom>
              <a:avLst/>
              <a:gdLst>
                <a:gd name="T0" fmla="*/ 2321 w 2402"/>
                <a:gd name="T1" fmla="*/ 1079 h 1079"/>
                <a:gd name="T2" fmla="*/ 2274 w 2402"/>
                <a:gd name="T3" fmla="*/ 1062 h 1079"/>
                <a:gd name="T4" fmla="*/ 1208 w 2402"/>
                <a:gd name="T5" fmla="*/ 172 h 1079"/>
                <a:gd name="T6" fmla="*/ 127 w 2402"/>
                <a:gd name="T7" fmla="*/ 1035 h 1079"/>
                <a:gd name="T8" fmla="*/ 25 w 2402"/>
                <a:gd name="T9" fmla="*/ 1024 h 1079"/>
                <a:gd name="T10" fmla="*/ 37 w 2402"/>
                <a:gd name="T11" fmla="*/ 922 h 1079"/>
                <a:gd name="T12" fmla="*/ 1164 w 2402"/>
                <a:gd name="T13" fmla="*/ 22 h 1079"/>
                <a:gd name="T14" fmla="*/ 1255 w 2402"/>
                <a:gd name="T15" fmla="*/ 23 h 1079"/>
                <a:gd name="T16" fmla="*/ 2367 w 2402"/>
                <a:gd name="T17" fmla="*/ 951 h 1079"/>
                <a:gd name="T18" fmla="*/ 2377 w 2402"/>
                <a:gd name="T19" fmla="*/ 1053 h 1079"/>
                <a:gd name="T20" fmla="*/ 2321 w 2402"/>
                <a:gd name="T21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02" h="1079">
                  <a:moveTo>
                    <a:pt x="2321" y="1079"/>
                  </a:moveTo>
                  <a:cubicBezTo>
                    <a:pt x="2304" y="1079"/>
                    <a:pt x="2288" y="1074"/>
                    <a:pt x="2274" y="1062"/>
                  </a:cubicBezTo>
                  <a:lnTo>
                    <a:pt x="1208" y="172"/>
                  </a:lnTo>
                  <a:lnTo>
                    <a:pt x="127" y="1035"/>
                  </a:lnTo>
                  <a:cubicBezTo>
                    <a:pt x="96" y="1060"/>
                    <a:pt x="50" y="1055"/>
                    <a:pt x="25" y="1024"/>
                  </a:cubicBezTo>
                  <a:cubicBezTo>
                    <a:pt x="0" y="992"/>
                    <a:pt x="5" y="947"/>
                    <a:pt x="37" y="922"/>
                  </a:cubicBezTo>
                  <a:lnTo>
                    <a:pt x="1164" y="22"/>
                  </a:lnTo>
                  <a:cubicBezTo>
                    <a:pt x="1190" y="0"/>
                    <a:pt x="1229" y="1"/>
                    <a:pt x="1255" y="23"/>
                  </a:cubicBezTo>
                  <a:lnTo>
                    <a:pt x="2367" y="951"/>
                  </a:lnTo>
                  <a:cubicBezTo>
                    <a:pt x="2398" y="977"/>
                    <a:pt x="2402" y="1022"/>
                    <a:pt x="2377" y="1053"/>
                  </a:cubicBezTo>
                  <a:cubicBezTo>
                    <a:pt x="2362" y="1071"/>
                    <a:pt x="2341" y="1079"/>
                    <a:pt x="2321" y="1079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8F39A519-03BB-9A97-743C-CD581B9D61BA}"/>
              </a:ext>
            </a:extLst>
          </p:cNvPr>
          <p:cNvSpPr txBox="1"/>
          <p:nvPr/>
        </p:nvSpPr>
        <p:spPr>
          <a:xfrm>
            <a:off x="8558390" y="4268855"/>
            <a:ext cx="259128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>
                <a:latin typeface="+mj-lt"/>
              </a:rPr>
              <a:t>Days in home</a:t>
            </a:r>
            <a:endParaRPr lang="en-GB" sz="2800" b="1" dirty="0">
              <a:latin typeface="+mj-lt"/>
            </a:endParaRPr>
          </a:p>
          <a:p>
            <a:pPr algn="ctr"/>
            <a:r>
              <a:rPr lang="en-GB" b="1" dirty="0">
                <a:latin typeface="+mj-lt"/>
              </a:rPr>
              <a:t>How long mail is live in the hom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5FA1E4-A810-5141-64EB-4ADB645789A0}"/>
              </a:ext>
            </a:extLst>
          </p:cNvPr>
          <p:cNvSpPr txBox="1"/>
          <p:nvPr/>
        </p:nvSpPr>
        <p:spPr>
          <a:xfrm>
            <a:off x="9229322" y="3045267"/>
            <a:ext cx="1266693" cy="7540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4300" b="1" dirty="0">
                <a:latin typeface="+mj-lt"/>
              </a:rPr>
              <a:t>8.0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4C6E78-5932-E68C-A1F8-BB4BC7541DBB}"/>
              </a:ext>
            </a:extLst>
          </p:cNvPr>
          <p:cNvSpPr txBox="1"/>
          <p:nvPr/>
        </p:nvSpPr>
        <p:spPr>
          <a:xfrm>
            <a:off x="6365158" y="5724042"/>
            <a:ext cx="1424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2 mi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082E211-5E73-1EF9-3E1D-9F6271902347}"/>
              </a:ext>
            </a:extLst>
          </p:cNvPr>
          <p:cNvSpPr txBox="1"/>
          <p:nvPr/>
        </p:nvSpPr>
        <p:spPr>
          <a:xfrm>
            <a:off x="3833115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4.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41967B7-D673-0481-921E-A7F16B776A26}"/>
              </a:ext>
            </a:extLst>
          </p:cNvPr>
          <p:cNvSpPr txBox="1"/>
          <p:nvPr/>
        </p:nvSpPr>
        <p:spPr>
          <a:xfrm>
            <a:off x="9268264" y="5724042"/>
            <a:ext cx="117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7.5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0274302-F179-5809-5647-06AB95365D3A}"/>
              </a:ext>
            </a:extLst>
          </p:cNvPr>
          <p:cNvSpPr txBox="1"/>
          <p:nvPr/>
        </p:nvSpPr>
        <p:spPr>
          <a:xfrm>
            <a:off x="1128748" y="5724042"/>
            <a:ext cx="12629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</a:rPr>
              <a:t>Average = 1.13</a:t>
            </a:r>
          </a:p>
        </p:txBody>
      </p:sp>
    </p:spTree>
    <p:extLst>
      <p:ext uri="{BB962C8B-B14F-4D97-AF65-F5344CB8AC3E}">
        <p14:creationId xmlns:p14="http://schemas.microsoft.com/office/powerpoint/2010/main" val="2186304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93F07-C5F4-B190-8303-86DC920DB9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MMERCIAL ENGAGE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BA193-71EF-031B-EE30-1827B071A6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Retail Mail June-August drives strong commercial actions amongst those </a:t>
            </a:r>
            <a:r>
              <a:rPr lang="en-GB"/>
              <a:t>getting mai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5AB08F-90E3-7F06-EE50-D30B426128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1B2CFFB-B63C-C69D-0FF4-0ECF753F37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JICMAIL, Item Data, Advertising Mail, Retailer, June-August, n=259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EE04F4-7429-2AB0-F6BE-A89A0F3295B3}"/>
              </a:ext>
            </a:extLst>
          </p:cNvPr>
          <p:cNvSpPr txBox="1"/>
          <p:nvPr/>
        </p:nvSpPr>
        <p:spPr>
          <a:xfrm>
            <a:off x="2149859" y="2353480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3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C125B2-5437-90C3-F00B-2BA4AFA5B015}"/>
              </a:ext>
            </a:extLst>
          </p:cNvPr>
          <p:cNvSpPr txBox="1"/>
          <p:nvPr/>
        </p:nvSpPr>
        <p:spPr>
          <a:xfrm>
            <a:off x="9986854" y="2967038"/>
            <a:ext cx="105189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4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AE4CD0C-4269-CB68-FFB8-F080258C1D80}"/>
              </a:ext>
            </a:extLst>
          </p:cNvPr>
          <p:cNvSpPr txBox="1"/>
          <p:nvPr/>
        </p:nvSpPr>
        <p:spPr>
          <a:xfrm>
            <a:off x="623417" y="4536885"/>
            <a:ext cx="243956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Take a commercial ac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C1403EB-4BCC-FDA9-874E-B5AE343BF51E}"/>
              </a:ext>
            </a:extLst>
          </p:cNvPr>
          <p:cNvSpPr txBox="1"/>
          <p:nvPr/>
        </p:nvSpPr>
        <p:spPr>
          <a:xfrm>
            <a:off x="5293729" y="4537146"/>
            <a:ext cx="268352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buy something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buy something, use a voucher, planned a large purchase, visited sender’s shop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932DE57B-8545-D427-0898-1C51A6319D20}"/>
              </a:ext>
            </a:extLst>
          </p:cNvPr>
          <p:cNvSpPr txBox="1"/>
          <p:nvPr/>
        </p:nvSpPr>
        <p:spPr>
          <a:xfrm>
            <a:off x="5680929" y="2512222"/>
            <a:ext cx="10975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="1" dirty="0">
                <a:latin typeface="Century Gothic"/>
              </a:rPr>
              <a:t>15</a:t>
            </a:r>
            <a:r>
              <a:rPr lang="en-GB" sz="4000" b="1" baseline="30000" dirty="0">
                <a:solidFill>
                  <a:schemeClr val="accent1"/>
                </a:solidFill>
                <a:latin typeface="Century Gothic"/>
              </a:rPr>
              <a:t>%</a:t>
            </a:r>
            <a:endParaRPr kumimoji="0" lang="en-GB" sz="4000" b="1" i="0" u="none" strike="noStrike" kern="120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Century Gothic"/>
            </a:endParaRPr>
          </a:p>
        </p:txBody>
      </p:sp>
      <p:grpSp>
        <p:nvGrpSpPr>
          <p:cNvPr id="72" name="Arrow3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39AC11AC-637F-1EAE-5874-D8F5F0FEF484}"/>
              </a:ext>
            </a:extLst>
          </p:cNvPr>
          <p:cNvGrpSpPr>
            <a:grpSpLocks noChangeAspect="1"/>
          </p:cNvGrpSpPr>
          <p:nvPr/>
        </p:nvGrpSpPr>
        <p:grpSpPr>
          <a:xfrm>
            <a:off x="4237345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8494D107-6B5D-2A85-DD3F-97480956C874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AF20E2F-D898-8C09-62D7-26D971386DC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74E6D4A4-0CEA-A3BE-B1C7-3C58E1E3ED24}"/>
              </a:ext>
            </a:extLst>
          </p:cNvPr>
          <p:cNvSpPr txBox="1"/>
          <p:nvPr/>
        </p:nvSpPr>
        <p:spPr>
          <a:xfrm>
            <a:off x="3087607" y="4139603"/>
            <a:ext cx="20286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35% taking an action go on to…</a:t>
            </a:r>
          </a:p>
        </p:txBody>
      </p:sp>
      <p:grpSp>
        <p:nvGrpSpPr>
          <p:cNvPr id="76" name="Arrow33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744403F-68F3-20F5-CE30-E52C67D3B448}"/>
              </a:ext>
            </a:extLst>
          </p:cNvPr>
          <p:cNvGrpSpPr>
            <a:grpSpLocks noChangeAspect="1"/>
          </p:cNvGrpSpPr>
          <p:nvPr/>
        </p:nvGrpSpPr>
        <p:grpSpPr>
          <a:xfrm>
            <a:off x="3686827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FBD744C-0108-B01F-EF9F-EBEB2B129F3E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BADB482B-957A-2F5A-5509-59E9D5A07642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9" name="Arrow33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0D5A9AB-BA81-84D4-273F-E8419CEB1CAA}"/>
              </a:ext>
            </a:extLst>
          </p:cNvPr>
          <p:cNvGrpSpPr>
            <a:grpSpLocks noChangeAspect="1"/>
          </p:cNvGrpSpPr>
          <p:nvPr/>
        </p:nvGrpSpPr>
        <p:grpSpPr>
          <a:xfrm>
            <a:off x="3136310" y="3487756"/>
            <a:ext cx="783592" cy="519292"/>
            <a:chOff x="9712467" y="5425536"/>
            <a:chExt cx="783592" cy="519292"/>
          </a:xfrm>
          <a:solidFill>
            <a:schemeClr val="bg1">
              <a:lumMod val="85000"/>
            </a:schemeClr>
          </a:solidFill>
        </p:grpSpPr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F44E71D3-6D02-D31D-FE15-BED464F2C11F}"/>
                </a:ext>
              </a:extLst>
            </p:cNvPr>
            <p:cNvSpPr/>
            <p:nvPr/>
          </p:nvSpPr>
          <p:spPr>
            <a:xfrm rot="2400000">
              <a:off x="9971378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65C99A3B-D99D-CC17-E0F0-A17D5DBF3B57}"/>
                </a:ext>
              </a:extLst>
            </p:cNvPr>
            <p:cNvSpPr/>
            <p:nvPr/>
          </p:nvSpPr>
          <p:spPr>
            <a:xfrm rot="2400000">
              <a:off x="9712467" y="5425536"/>
              <a:ext cx="524681" cy="519292"/>
            </a:xfrm>
            <a:custGeom>
              <a:avLst/>
              <a:gdLst>
                <a:gd name="connsiteX0" fmla="*/ 11197 w 524681"/>
                <a:gd name="connsiteY0" fmla="*/ 11198 h 519292"/>
                <a:gd name="connsiteX1" fmla="*/ 38230 w 524681"/>
                <a:gd name="connsiteY1" fmla="*/ 0 h 519292"/>
                <a:gd name="connsiteX2" fmla="*/ 479592 w 524681"/>
                <a:gd name="connsiteY2" fmla="*/ 0 h 519292"/>
                <a:gd name="connsiteX3" fmla="*/ 506625 w 524681"/>
                <a:gd name="connsiteY3" fmla="*/ 11197 h 519292"/>
                <a:gd name="connsiteX4" fmla="*/ 510102 w 524681"/>
                <a:gd name="connsiteY4" fmla="*/ 19591 h 519292"/>
                <a:gd name="connsiteX5" fmla="*/ 517761 w 524681"/>
                <a:gd name="connsiteY5" fmla="*/ 24471 h 519292"/>
                <a:gd name="connsiteX6" fmla="*/ 524094 w 524681"/>
                <a:gd name="connsiteY6" fmla="*/ 53038 h 519292"/>
                <a:gd name="connsiteX7" fmla="*/ 447453 w 524681"/>
                <a:gd name="connsiteY7" fmla="*/ 487695 h 519292"/>
                <a:gd name="connsiteX8" fmla="*/ 403165 w 524681"/>
                <a:gd name="connsiteY8" fmla="*/ 518705 h 519292"/>
                <a:gd name="connsiteX9" fmla="*/ 372154 w 524681"/>
                <a:gd name="connsiteY9" fmla="*/ 474417 h 519292"/>
                <a:gd name="connsiteX10" fmla="*/ 442325 w 524681"/>
                <a:gd name="connsiteY10" fmla="*/ 76460 h 519292"/>
                <a:gd name="connsiteX11" fmla="*/ 38230 w 524681"/>
                <a:gd name="connsiteY11" fmla="*/ 76460 h 519292"/>
                <a:gd name="connsiteX12" fmla="*/ 0 w 524681"/>
                <a:gd name="connsiteY12" fmla="*/ 38230 h 519292"/>
                <a:gd name="connsiteX13" fmla="*/ 11197 w 524681"/>
                <a:gd name="connsiteY13" fmla="*/ 11198 h 519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4681" h="519292">
                  <a:moveTo>
                    <a:pt x="11197" y="11198"/>
                  </a:moveTo>
                  <a:cubicBezTo>
                    <a:pt x="18116" y="4279"/>
                    <a:pt x="27673" y="0"/>
                    <a:pt x="38230" y="0"/>
                  </a:cubicBezTo>
                  <a:lnTo>
                    <a:pt x="479592" y="0"/>
                  </a:lnTo>
                  <a:cubicBezTo>
                    <a:pt x="490149" y="0"/>
                    <a:pt x="499706" y="4279"/>
                    <a:pt x="506625" y="11197"/>
                  </a:cubicBezTo>
                  <a:lnTo>
                    <a:pt x="510102" y="19591"/>
                  </a:lnTo>
                  <a:lnTo>
                    <a:pt x="517761" y="24471"/>
                  </a:lnTo>
                  <a:cubicBezTo>
                    <a:pt x="523373" y="32486"/>
                    <a:pt x="525927" y="42641"/>
                    <a:pt x="524094" y="53038"/>
                  </a:cubicBezTo>
                  <a:lnTo>
                    <a:pt x="447453" y="487695"/>
                  </a:lnTo>
                  <a:cubicBezTo>
                    <a:pt x="443786" y="508487"/>
                    <a:pt x="423958" y="522372"/>
                    <a:pt x="403165" y="518705"/>
                  </a:cubicBezTo>
                  <a:cubicBezTo>
                    <a:pt x="382372" y="515038"/>
                    <a:pt x="368488" y="495210"/>
                    <a:pt x="372154" y="474417"/>
                  </a:cubicBezTo>
                  <a:lnTo>
                    <a:pt x="442325" y="76460"/>
                  </a:lnTo>
                  <a:lnTo>
                    <a:pt x="38230" y="76460"/>
                  </a:lnTo>
                  <a:cubicBezTo>
                    <a:pt x="17116" y="76460"/>
                    <a:pt x="0" y="59344"/>
                    <a:pt x="0" y="38230"/>
                  </a:cubicBezTo>
                  <a:cubicBezTo>
                    <a:pt x="0" y="27673"/>
                    <a:pt x="4279" y="18115"/>
                    <a:pt x="11197" y="11198"/>
                  </a:cubicBezTo>
                  <a:close/>
                </a:path>
              </a:pathLst>
            </a:custGeom>
            <a:grpFill/>
            <a:ln w="190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F02220A6-3617-8E35-1A10-4FDBF041579E}"/>
              </a:ext>
            </a:extLst>
          </p:cNvPr>
          <p:cNvSpPr txBox="1"/>
          <p:nvPr/>
        </p:nvSpPr>
        <p:spPr>
          <a:xfrm>
            <a:off x="7962178" y="4537146"/>
            <a:ext cx="286221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+mj-lt"/>
              </a:rPr>
              <a:t>… take online actions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visit sender’s web site, go online, look up account details, use a tablet or smartphone</a:t>
            </a:r>
          </a:p>
          <a:p>
            <a:pPr algn="ctr"/>
            <a:endParaRPr lang="en-GB" sz="2000" b="1" dirty="0">
              <a:latin typeface="+mj-lt"/>
            </a:endParaRPr>
          </a:p>
        </p:txBody>
      </p:sp>
      <p:grpSp>
        <p:nvGrpSpPr>
          <p:cNvPr id="100" name="E_commer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9C004E8-F39D-C213-4876-06331DC57EBB}"/>
              </a:ext>
            </a:extLst>
          </p:cNvPr>
          <p:cNvGrpSpPr>
            <a:grpSpLocks noChangeAspect="1"/>
          </p:cNvGrpSpPr>
          <p:nvPr/>
        </p:nvGrpSpPr>
        <p:grpSpPr>
          <a:xfrm>
            <a:off x="8345666" y="3127106"/>
            <a:ext cx="1827667" cy="1317621"/>
            <a:chOff x="3506547" y="3758510"/>
            <a:chExt cx="2867025" cy="2066924"/>
          </a:xfrm>
          <a:solidFill>
            <a:schemeClr val="tx1"/>
          </a:solidFill>
        </p:grpSpPr>
        <p:sp>
          <p:nvSpPr>
            <p:cNvPr id="101" name="Free-form: Shape 613">
              <a:extLst>
                <a:ext uri="{FF2B5EF4-FFF2-40B4-BE49-F238E27FC236}">
                  <a16:creationId xmlns:a16="http://schemas.microsoft.com/office/drawing/2014/main" id="{FF4F9B18-5D0B-6665-B72F-6CC661E7B5A3}"/>
                </a:ext>
              </a:extLst>
            </p:cNvPr>
            <p:cNvSpPr/>
            <p:nvPr/>
          </p:nvSpPr>
          <p:spPr>
            <a:xfrm>
              <a:off x="3725526" y="3758510"/>
              <a:ext cx="2429066" cy="1847850"/>
            </a:xfrm>
            <a:custGeom>
              <a:avLst/>
              <a:gdLst>
                <a:gd name="connsiteX0" fmla="*/ 2284476 w 2429066"/>
                <a:gd name="connsiteY0" fmla="*/ 0 h 1847850"/>
                <a:gd name="connsiteX1" fmla="*/ 2414207 w 2429066"/>
                <a:gd name="connsiteY1" fmla="*/ 93536 h 1847850"/>
                <a:gd name="connsiteX2" fmla="*/ 2429066 w 2429066"/>
                <a:gd name="connsiteY2" fmla="*/ 223076 h 1847850"/>
                <a:gd name="connsiteX3" fmla="*/ 2428970 w 2429066"/>
                <a:gd name="connsiteY3" fmla="*/ 1823466 h 1847850"/>
                <a:gd name="connsiteX4" fmla="*/ 2404586 w 2429066"/>
                <a:gd name="connsiteY4" fmla="*/ 1847850 h 1847850"/>
                <a:gd name="connsiteX5" fmla="*/ 24479 w 2429066"/>
                <a:gd name="connsiteY5" fmla="*/ 1847850 h 1847850"/>
                <a:gd name="connsiteX6" fmla="*/ 95 w 2429066"/>
                <a:gd name="connsiteY6" fmla="*/ 1823466 h 1847850"/>
                <a:gd name="connsiteX7" fmla="*/ 0 w 2429066"/>
                <a:gd name="connsiteY7" fmla="*/ 222980 h 1847850"/>
                <a:gd name="connsiteX8" fmla="*/ 14954 w 2429066"/>
                <a:gd name="connsiteY8" fmla="*/ 93345 h 1847850"/>
                <a:gd name="connsiteX9" fmla="*/ 144971 w 2429066"/>
                <a:gd name="connsiteY9" fmla="*/ 0 h 1847850"/>
                <a:gd name="connsiteX10" fmla="*/ 2284476 w 2429066"/>
                <a:gd name="connsiteY10" fmla="*/ 0 h 1847850"/>
                <a:gd name="connsiteX11" fmla="*/ 1214628 w 2429066"/>
                <a:gd name="connsiteY11" fmla="*/ 1800225 h 1847850"/>
                <a:gd name="connsiteX12" fmla="*/ 2378678 w 2429066"/>
                <a:gd name="connsiteY12" fmla="*/ 1799844 h 1847850"/>
                <a:gd name="connsiteX13" fmla="*/ 2381441 w 2429066"/>
                <a:gd name="connsiteY13" fmla="*/ 1797082 h 1847850"/>
                <a:gd name="connsiteX14" fmla="*/ 2381441 w 2429066"/>
                <a:gd name="connsiteY14" fmla="*/ 201359 h 1847850"/>
                <a:gd name="connsiteX15" fmla="*/ 2374487 w 2429066"/>
                <a:gd name="connsiteY15" fmla="*/ 123349 h 1847850"/>
                <a:gd name="connsiteX16" fmla="*/ 2320957 w 2429066"/>
                <a:gd name="connsiteY16" fmla="*/ 60484 h 1847850"/>
                <a:gd name="connsiteX17" fmla="*/ 2216087 w 2429066"/>
                <a:gd name="connsiteY17" fmla="*/ 47625 h 1847850"/>
                <a:gd name="connsiteX18" fmla="*/ 1214533 w 2429066"/>
                <a:gd name="connsiteY18" fmla="*/ 47625 h 1847850"/>
                <a:gd name="connsiteX19" fmla="*/ 212979 w 2429066"/>
                <a:gd name="connsiteY19" fmla="*/ 47720 h 1847850"/>
                <a:gd name="connsiteX20" fmla="*/ 108109 w 2429066"/>
                <a:gd name="connsiteY20" fmla="*/ 60579 h 1847850"/>
                <a:gd name="connsiteX21" fmla="*/ 54578 w 2429066"/>
                <a:gd name="connsiteY21" fmla="*/ 123444 h 1847850"/>
                <a:gd name="connsiteX22" fmla="*/ 47625 w 2429066"/>
                <a:gd name="connsiteY22" fmla="*/ 201549 h 1847850"/>
                <a:gd name="connsiteX23" fmla="*/ 47816 w 2429066"/>
                <a:gd name="connsiteY23" fmla="*/ 1797272 h 1847850"/>
                <a:gd name="connsiteX24" fmla="*/ 50578 w 2429066"/>
                <a:gd name="connsiteY24" fmla="*/ 1800035 h 1847850"/>
                <a:gd name="connsiteX25" fmla="*/ 1214628 w 2429066"/>
                <a:gd name="connsiteY25" fmla="*/ 1800225 h 184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429066" h="1847850">
                  <a:moveTo>
                    <a:pt x="2284476" y="0"/>
                  </a:moveTo>
                  <a:cubicBezTo>
                    <a:pt x="2349373" y="11239"/>
                    <a:pt x="2392616" y="42418"/>
                    <a:pt x="2414207" y="93536"/>
                  </a:cubicBezTo>
                  <a:cubicBezTo>
                    <a:pt x="2424176" y="117158"/>
                    <a:pt x="2429129" y="160338"/>
                    <a:pt x="2429066" y="223076"/>
                  </a:cubicBezTo>
                  <a:cubicBezTo>
                    <a:pt x="2428939" y="897890"/>
                    <a:pt x="2428907" y="1431354"/>
                    <a:pt x="2428970" y="1823466"/>
                  </a:cubicBezTo>
                  <a:cubicBezTo>
                    <a:pt x="2428970" y="1836933"/>
                    <a:pt x="2418053" y="1847850"/>
                    <a:pt x="2404586" y="1847850"/>
                  </a:cubicBezTo>
                  <a:lnTo>
                    <a:pt x="24479" y="1847850"/>
                  </a:lnTo>
                  <a:cubicBezTo>
                    <a:pt x="11012" y="1847850"/>
                    <a:pt x="95" y="1836933"/>
                    <a:pt x="95" y="1823466"/>
                  </a:cubicBezTo>
                  <a:cubicBezTo>
                    <a:pt x="95" y="1189863"/>
                    <a:pt x="63" y="656368"/>
                    <a:pt x="0" y="222980"/>
                  </a:cubicBezTo>
                  <a:cubicBezTo>
                    <a:pt x="0" y="160179"/>
                    <a:pt x="4985" y="116967"/>
                    <a:pt x="14954" y="93345"/>
                  </a:cubicBezTo>
                  <a:cubicBezTo>
                    <a:pt x="36544" y="42101"/>
                    <a:pt x="79883" y="10986"/>
                    <a:pt x="144971" y="0"/>
                  </a:cubicBezTo>
                  <a:lnTo>
                    <a:pt x="2284476" y="0"/>
                  </a:lnTo>
                  <a:close/>
                  <a:moveTo>
                    <a:pt x="1214628" y="1800225"/>
                  </a:moveTo>
                  <a:cubicBezTo>
                    <a:pt x="1602867" y="1800225"/>
                    <a:pt x="1990884" y="1800098"/>
                    <a:pt x="2378678" y="1799844"/>
                  </a:cubicBezTo>
                  <a:cubicBezTo>
                    <a:pt x="2380204" y="1799844"/>
                    <a:pt x="2381441" y="1798607"/>
                    <a:pt x="2381441" y="1797082"/>
                  </a:cubicBezTo>
                  <a:cubicBezTo>
                    <a:pt x="2381377" y="1265206"/>
                    <a:pt x="2381377" y="733298"/>
                    <a:pt x="2381441" y="201359"/>
                  </a:cubicBezTo>
                  <a:cubicBezTo>
                    <a:pt x="2381441" y="164211"/>
                    <a:pt x="2379123" y="138208"/>
                    <a:pt x="2374487" y="123349"/>
                  </a:cubicBezTo>
                  <a:cubicBezTo>
                    <a:pt x="2365153" y="93885"/>
                    <a:pt x="2347309" y="72930"/>
                    <a:pt x="2320957" y="60484"/>
                  </a:cubicBezTo>
                  <a:cubicBezTo>
                    <a:pt x="2302796" y="51911"/>
                    <a:pt x="2267839" y="47625"/>
                    <a:pt x="2216087" y="47625"/>
                  </a:cubicBezTo>
                  <a:cubicBezTo>
                    <a:pt x="1882267" y="47562"/>
                    <a:pt x="1548416" y="47562"/>
                    <a:pt x="1214533" y="47625"/>
                  </a:cubicBezTo>
                  <a:cubicBezTo>
                    <a:pt x="880650" y="47625"/>
                    <a:pt x="546799" y="47657"/>
                    <a:pt x="212979" y="47720"/>
                  </a:cubicBezTo>
                  <a:cubicBezTo>
                    <a:pt x="161227" y="47720"/>
                    <a:pt x="126270" y="52007"/>
                    <a:pt x="108109" y="60579"/>
                  </a:cubicBezTo>
                  <a:cubicBezTo>
                    <a:pt x="81756" y="73025"/>
                    <a:pt x="63913" y="93980"/>
                    <a:pt x="54578" y="123444"/>
                  </a:cubicBezTo>
                  <a:cubicBezTo>
                    <a:pt x="49943" y="138367"/>
                    <a:pt x="47625" y="164402"/>
                    <a:pt x="47625" y="201549"/>
                  </a:cubicBezTo>
                  <a:cubicBezTo>
                    <a:pt x="47752" y="733489"/>
                    <a:pt x="47816" y="1265396"/>
                    <a:pt x="47816" y="1797272"/>
                  </a:cubicBezTo>
                  <a:cubicBezTo>
                    <a:pt x="47816" y="1798798"/>
                    <a:pt x="49052" y="1800035"/>
                    <a:pt x="50578" y="1800035"/>
                  </a:cubicBezTo>
                  <a:cubicBezTo>
                    <a:pt x="438372" y="1800162"/>
                    <a:pt x="826389" y="1800225"/>
                    <a:pt x="1214628" y="1800225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2" name="Free-form: Shape 614">
              <a:extLst>
                <a:ext uri="{FF2B5EF4-FFF2-40B4-BE49-F238E27FC236}">
                  <a16:creationId xmlns:a16="http://schemas.microsoft.com/office/drawing/2014/main" id="{BEE86A69-4F21-DB6B-153F-3F16CF986FFF}"/>
                </a:ext>
              </a:extLst>
            </p:cNvPr>
            <p:cNvSpPr/>
            <p:nvPr/>
          </p:nvSpPr>
          <p:spPr>
            <a:xfrm>
              <a:off x="4146341" y="4072639"/>
              <a:ext cx="1369930" cy="943213"/>
            </a:xfrm>
            <a:custGeom>
              <a:avLst/>
              <a:gdLst>
                <a:gd name="connsiteX0" fmla="*/ 1312831 w 1369930"/>
                <a:gd name="connsiteY0" fmla="*/ 280516 h 943213"/>
                <a:gd name="connsiteX1" fmla="*/ 1310664 w 1369930"/>
                <a:gd name="connsiteY1" fmla="*/ 276634 h 943213"/>
                <a:gd name="connsiteX2" fmla="*/ 1309783 w 1369930"/>
                <a:gd name="connsiteY2" fmla="*/ 276515 h 943213"/>
                <a:gd name="connsiteX3" fmla="*/ 536734 w 1369930"/>
                <a:gd name="connsiteY3" fmla="*/ 276325 h 943213"/>
                <a:gd name="connsiteX4" fmla="*/ 514255 w 1369930"/>
                <a:gd name="connsiteY4" fmla="*/ 253274 h 943213"/>
                <a:gd name="connsiteX5" fmla="*/ 514160 w 1369930"/>
                <a:gd name="connsiteY5" fmla="*/ 252322 h 943213"/>
                <a:gd name="connsiteX6" fmla="*/ 528770 w 1369930"/>
                <a:gd name="connsiteY6" fmla="*/ 229932 h 943213"/>
                <a:gd name="connsiteX7" fmla="*/ 536639 w 1369930"/>
                <a:gd name="connsiteY7" fmla="*/ 228795 h 943213"/>
                <a:gd name="connsiteX8" fmla="*/ 1346454 w 1369930"/>
                <a:gd name="connsiteY8" fmla="*/ 228795 h 943213"/>
                <a:gd name="connsiteX9" fmla="*/ 1369930 w 1369930"/>
                <a:gd name="connsiteY9" fmla="*/ 252182 h 943213"/>
                <a:gd name="connsiteX10" fmla="*/ 1368933 w 1369930"/>
                <a:gd name="connsiteY10" fmla="*/ 258989 h 943213"/>
                <a:gd name="connsiteX11" fmla="*/ 1232059 w 1369930"/>
                <a:gd name="connsiteY11" fmla="*/ 714284 h 943213"/>
                <a:gd name="connsiteX12" fmla="*/ 1205960 w 1369930"/>
                <a:gd name="connsiteY12" fmla="*/ 733620 h 943213"/>
                <a:gd name="connsiteX13" fmla="*/ 538925 w 1369930"/>
                <a:gd name="connsiteY13" fmla="*/ 733620 h 943213"/>
                <a:gd name="connsiteX14" fmla="*/ 535115 w 1369930"/>
                <a:gd name="connsiteY14" fmla="*/ 738573 h 943213"/>
                <a:gd name="connsiteX15" fmla="*/ 568833 w 1369930"/>
                <a:gd name="connsiteY15" fmla="*/ 853730 h 943213"/>
                <a:gd name="connsiteX16" fmla="*/ 631793 w 1369930"/>
                <a:gd name="connsiteY16" fmla="*/ 895736 h 943213"/>
                <a:gd name="connsiteX17" fmla="*/ 1258538 w 1369930"/>
                <a:gd name="connsiteY17" fmla="*/ 895640 h 943213"/>
                <a:gd name="connsiteX18" fmla="*/ 1284065 w 1369930"/>
                <a:gd name="connsiteY18" fmla="*/ 920977 h 943213"/>
                <a:gd name="connsiteX19" fmla="*/ 1283970 w 1369930"/>
                <a:gd name="connsiteY19" fmla="*/ 921929 h 943213"/>
                <a:gd name="connsiteX20" fmla="*/ 1258824 w 1369930"/>
                <a:gd name="connsiteY20" fmla="*/ 943075 h 943213"/>
                <a:gd name="connsiteX21" fmla="*/ 631888 w 1369930"/>
                <a:gd name="connsiteY21" fmla="*/ 942789 h 943213"/>
                <a:gd name="connsiteX22" fmla="*/ 543401 w 1369930"/>
                <a:gd name="connsiteY22" fmla="*/ 904118 h 943213"/>
                <a:gd name="connsiteX23" fmla="*/ 509111 w 1369930"/>
                <a:gd name="connsiteY23" fmla="*/ 821726 h 943213"/>
                <a:gd name="connsiteX24" fmla="*/ 315944 w 1369930"/>
                <a:gd name="connsiteY24" fmla="*/ 176598 h 943213"/>
                <a:gd name="connsiteX25" fmla="*/ 278035 w 1369930"/>
                <a:gd name="connsiteY25" fmla="*/ 89254 h 943213"/>
                <a:gd name="connsiteX26" fmla="*/ 184214 w 1369930"/>
                <a:gd name="connsiteY26" fmla="*/ 47534 h 943213"/>
                <a:gd name="connsiteX27" fmla="*/ 22384 w 1369930"/>
                <a:gd name="connsiteY27" fmla="*/ 47153 h 943213"/>
                <a:gd name="connsiteX28" fmla="*/ 0 w 1369930"/>
                <a:gd name="connsiteY28" fmla="*/ 24293 h 943213"/>
                <a:gd name="connsiteX29" fmla="*/ 0 w 1369930"/>
                <a:gd name="connsiteY29" fmla="*/ 23341 h 943213"/>
                <a:gd name="connsiteX30" fmla="*/ 22765 w 1369930"/>
                <a:gd name="connsiteY30" fmla="*/ 767 h 943213"/>
                <a:gd name="connsiteX31" fmla="*/ 179832 w 1369930"/>
                <a:gd name="connsiteY31" fmla="*/ 290 h 943213"/>
                <a:gd name="connsiteX32" fmla="*/ 317945 w 1369930"/>
                <a:gd name="connsiteY32" fmla="*/ 62774 h 943213"/>
                <a:gd name="connsiteX33" fmla="*/ 369856 w 1369930"/>
                <a:gd name="connsiteY33" fmla="*/ 191838 h 943213"/>
                <a:gd name="connsiteX34" fmla="*/ 517112 w 1369930"/>
                <a:gd name="connsiteY34" fmla="*/ 681804 h 943213"/>
                <a:gd name="connsiteX35" fmla="*/ 522732 w 1369930"/>
                <a:gd name="connsiteY35" fmla="*/ 685995 h 943213"/>
                <a:gd name="connsiteX36" fmla="*/ 1186244 w 1369930"/>
                <a:gd name="connsiteY36" fmla="*/ 685995 h 943213"/>
                <a:gd name="connsiteX37" fmla="*/ 1192149 w 1369930"/>
                <a:gd name="connsiteY37" fmla="*/ 681614 h 943213"/>
                <a:gd name="connsiteX38" fmla="*/ 1312831 w 1369930"/>
                <a:gd name="connsiteY38" fmla="*/ 280516 h 943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369930" h="943213">
                  <a:moveTo>
                    <a:pt x="1312831" y="280516"/>
                  </a:moveTo>
                  <a:cubicBezTo>
                    <a:pt x="1313304" y="278846"/>
                    <a:pt x="1312334" y="277108"/>
                    <a:pt x="1310664" y="276634"/>
                  </a:cubicBezTo>
                  <a:cubicBezTo>
                    <a:pt x="1310377" y="276553"/>
                    <a:pt x="1310081" y="276513"/>
                    <a:pt x="1309783" y="276515"/>
                  </a:cubicBezTo>
                  <a:lnTo>
                    <a:pt x="536734" y="276325"/>
                  </a:lnTo>
                  <a:cubicBezTo>
                    <a:pt x="520224" y="276325"/>
                    <a:pt x="512731" y="268641"/>
                    <a:pt x="514255" y="253274"/>
                  </a:cubicBezTo>
                  <a:cubicBezTo>
                    <a:pt x="514255" y="252893"/>
                    <a:pt x="514223" y="252576"/>
                    <a:pt x="514160" y="252322"/>
                  </a:cubicBezTo>
                  <a:cubicBezTo>
                    <a:pt x="510646" y="243367"/>
                    <a:pt x="517187" y="233343"/>
                    <a:pt x="528770" y="229932"/>
                  </a:cubicBezTo>
                  <a:cubicBezTo>
                    <a:pt x="531317" y="229182"/>
                    <a:pt x="533983" y="228796"/>
                    <a:pt x="536639" y="228795"/>
                  </a:cubicBezTo>
                  <a:lnTo>
                    <a:pt x="1346454" y="228795"/>
                  </a:lnTo>
                  <a:cubicBezTo>
                    <a:pt x="1359395" y="228770"/>
                    <a:pt x="1369906" y="239241"/>
                    <a:pt x="1369930" y="252182"/>
                  </a:cubicBezTo>
                  <a:cubicBezTo>
                    <a:pt x="1369935" y="254488"/>
                    <a:pt x="1369599" y="256782"/>
                    <a:pt x="1368933" y="258989"/>
                  </a:cubicBezTo>
                  <a:lnTo>
                    <a:pt x="1232059" y="714284"/>
                  </a:lnTo>
                  <a:cubicBezTo>
                    <a:pt x="1228540" y="725784"/>
                    <a:pt x="1217946" y="733632"/>
                    <a:pt x="1205960" y="733620"/>
                  </a:cubicBezTo>
                  <a:lnTo>
                    <a:pt x="538925" y="733620"/>
                  </a:lnTo>
                  <a:cubicBezTo>
                    <a:pt x="535496" y="733620"/>
                    <a:pt x="534226" y="735271"/>
                    <a:pt x="535115" y="738573"/>
                  </a:cubicBezTo>
                  <a:cubicBezTo>
                    <a:pt x="550672" y="796422"/>
                    <a:pt x="561912" y="834807"/>
                    <a:pt x="568833" y="853730"/>
                  </a:cubicBezTo>
                  <a:cubicBezTo>
                    <a:pt x="579057" y="881734"/>
                    <a:pt x="600043" y="895736"/>
                    <a:pt x="631793" y="895736"/>
                  </a:cubicBezTo>
                  <a:cubicBezTo>
                    <a:pt x="956596" y="895545"/>
                    <a:pt x="1165511" y="895513"/>
                    <a:pt x="1258538" y="895640"/>
                  </a:cubicBezTo>
                  <a:cubicBezTo>
                    <a:pt x="1273588" y="895640"/>
                    <a:pt x="1282097" y="904086"/>
                    <a:pt x="1284065" y="920977"/>
                  </a:cubicBezTo>
                  <a:cubicBezTo>
                    <a:pt x="1284065" y="921294"/>
                    <a:pt x="1284034" y="921612"/>
                    <a:pt x="1283970" y="921929"/>
                  </a:cubicBezTo>
                  <a:cubicBezTo>
                    <a:pt x="1280160" y="935963"/>
                    <a:pt x="1271778" y="943011"/>
                    <a:pt x="1258824" y="943075"/>
                  </a:cubicBezTo>
                  <a:cubicBezTo>
                    <a:pt x="1062038" y="943329"/>
                    <a:pt x="853059" y="943234"/>
                    <a:pt x="631888" y="942789"/>
                  </a:cubicBezTo>
                  <a:cubicBezTo>
                    <a:pt x="593471" y="942726"/>
                    <a:pt x="563975" y="929835"/>
                    <a:pt x="543401" y="904118"/>
                  </a:cubicBezTo>
                  <a:cubicBezTo>
                    <a:pt x="533178" y="891291"/>
                    <a:pt x="521748" y="863827"/>
                    <a:pt x="509111" y="821726"/>
                  </a:cubicBezTo>
                  <a:cubicBezTo>
                    <a:pt x="390239" y="425359"/>
                    <a:pt x="325850" y="210317"/>
                    <a:pt x="315944" y="176598"/>
                  </a:cubicBezTo>
                  <a:cubicBezTo>
                    <a:pt x="302419" y="130561"/>
                    <a:pt x="289782" y="101446"/>
                    <a:pt x="278035" y="89254"/>
                  </a:cubicBezTo>
                  <a:cubicBezTo>
                    <a:pt x="250476" y="60869"/>
                    <a:pt x="219202" y="46963"/>
                    <a:pt x="184214" y="47534"/>
                  </a:cubicBezTo>
                  <a:cubicBezTo>
                    <a:pt x="138176" y="48360"/>
                    <a:pt x="84233" y="48233"/>
                    <a:pt x="22384" y="47153"/>
                  </a:cubicBezTo>
                  <a:cubicBezTo>
                    <a:pt x="7588" y="46963"/>
                    <a:pt x="127" y="39343"/>
                    <a:pt x="0" y="24293"/>
                  </a:cubicBezTo>
                  <a:cubicBezTo>
                    <a:pt x="0" y="23849"/>
                    <a:pt x="0" y="23531"/>
                    <a:pt x="0" y="23341"/>
                  </a:cubicBezTo>
                  <a:cubicBezTo>
                    <a:pt x="127" y="8482"/>
                    <a:pt x="7715" y="957"/>
                    <a:pt x="22765" y="767"/>
                  </a:cubicBezTo>
                  <a:cubicBezTo>
                    <a:pt x="94647" y="-59"/>
                    <a:pt x="147003" y="-218"/>
                    <a:pt x="179832" y="290"/>
                  </a:cubicBezTo>
                  <a:cubicBezTo>
                    <a:pt x="239459" y="1179"/>
                    <a:pt x="285496" y="22007"/>
                    <a:pt x="317945" y="62774"/>
                  </a:cubicBezTo>
                  <a:cubicBezTo>
                    <a:pt x="332105" y="80491"/>
                    <a:pt x="349409" y="123512"/>
                    <a:pt x="369856" y="191838"/>
                  </a:cubicBezTo>
                  <a:cubicBezTo>
                    <a:pt x="441484" y="430598"/>
                    <a:pt x="490569" y="593920"/>
                    <a:pt x="517112" y="681804"/>
                  </a:cubicBezTo>
                  <a:cubicBezTo>
                    <a:pt x="517830" y="684277"/>
                    <a:pt x="520117" y="685982"/>
                    <a:pt x="522732" y="685995"/>
                  </a:cubicBezTo>
                  <a:lnTo>
                    <a:pt x="1186244" y="685995"/>
                  </a:lnTo>
                  <a:cubicBezTo>
                    <a:pt x="1189292" y="685995"/>
                    <a:pt x="1191260" y="684535"/>
                    <a:pt x="1192149" y="681614"/>
                  </a:cubicBezTo>
                  <a:lnTo>
                    <a:pt x="1312831" y="280516"/>
                  </a:ln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3" name="Free-form: Shape 615">
              <a:extLst>
                <a:ext uri="{FF2B5EF4-FFF2-40B4-BE49-F238E27FC236}">
                  <a16:creationId xmlns:a16="http://schemas.microsoft.com/office/drawing/2014/main" id="{C528D04E-568F-DDEB-6EBE-DF9ED5146860}"/>
                </a:ext>
              </a:extLst>
            </p:cNvPr>
            <p:cNvSpPr/>
            <p:nvPr/>
          </p:nvSpPr>
          <p:spPr>
            <a:xfrm>
              <a:off x="4659320" y="5101752"/>
              <a:ext cx="237296" cy="237250"/>
            </a:xfrm>
            <a:custGeom>
              <a:avLst/>
              <a:gdLst>
                <a:gd name="connsiteX0" fmla="*/ 69760 w 237296"/>
                <a:gd name="connsiteY0" fmla="*/ 167803 h 237250"/>
                <a:gd name="connsiteX1" fmla="*/ 178250 w 237296"/>
                <a:gd name="connsiteY1" fmla="*/ 155897 h 237250"/>
                <a:gd name="connsiteX2" fmla="*/ 193680 w 237296"/>
                <a:gd name="connsiteY2" fmla="*/ 106653 h 237250"/>
                <a:gd name="connsiteX3" fmla="*/ 198824 w 237296"/>
                <a:gd name="connsiteY3" fmla="*/ 99414 h 237250"/>
                <a:gd name="connsiteX4" fmla="*/ 235876 w 237296"/>
                <a:gd name="connsiteY4" fmla="*/ 111320 h 237250"/>
                <a:gd name="connsiteX5" fmla="*/ 235209 w 237296"/>
                <a:gd name="connsiteY5" fmla="*/ 140276 h 237250"/>
                <a:gd name="connsiteX6" fmla="*/ 198919 w 237296"/>
                <a:gd name="connsiteY6" fmla="*/ 204189 h 237250"/>
                <a:gd name="connsiteX7" fmla="*/ 136435 w 237296"/>
                <a:gd name="connsiteY7" fmla="*/ 235812 h 237250"/>
                <a:gd name="connsiteX8" fmla="*/ 41661 w 237296"/>
                <a:gd name="connsiteY8" fmla="*/ 208190 h 237250"/>
                <a:gd name="connsiteX9" fmla="*/ 35184 w 237296"/>
                <a:gd name="connsiteY9" fmla="*/ 202474 h 237250"/>
                <a:gd name="connsiteX10" fmla="*/ 29374 w 237296"/>
                <a:gd name="connsiteY10" fmla="*/ 195998 h 237250"/>
                <a:gd name="connsiteX11" fmla="*/ 1370 w 237296"/>
                <a:gd name="connsiteY11" fmla="*/ 101319 h 237250"/>
                <a:gd name="connsiteX12" fmla="*/ 32708 w 237296"/>
                <a:gd name="connsiteY12" fmla="*/ 38740 h 237250"/>
                <a:gd name="connsiteX13" fmla="*/ 96430 w 237296"/>
                <a:gd name="connsiteY13" fmla="*/ 2164 h 237250"/>
                <a:gd name="connsiteX14" fmla="*/ 125386 w 237296"/>
                <a:gd name="connsiteY14" fmla="*/ 1402 h 237250"/>
                <a:gd name="connsiteX15" fmla="*/ 137483 w 237296"/>
                <a:gd name="connsiteY15" fmla="*/ 38359 h 237250"/>
                <a:gd name="connsiteX16" fmla="*/ 130244 w 237296"/>
                <a:gd name="connsiteY16" fmla="*/ 43502 h 237250"/>
                <a:gd name="connsiteX17" fmla="*/ 81095 w 237296"/>
                <a:gd name="connsiteY17" fmla="*/ 59219 h 237250"/>
                <a:gd name="connsiteX18" fmla="*/ 69760 w 237296"/>
                <a:gd name="connsiteY18" fmla="*/ 167803 h 23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7296" h="237250">
                  <a:moveTo>
                    <a:pt x="69760" y="167803"/>
                  </a:moveTo>
                  <a:cubicBezTo>
                    <a:pt x="104431" y="202379"/>
                    <a:pt x="151294" y="194569"/>
                    <a:pt x="178250" y="155897"/>
                  </a:cubicBezTo>
                  <a:cubicBezTo>
                    <a:pt x="188918" y="140562"/>
                    <a:pt x="189108" y="121321"/>
                    <a:pt x="193680" y="106653"/>
                  </a:cubicBezTo>
                  <a:cubicBezTo>
                    <a:pt x="194760" y="103160"/>
                    <a:pt x="196474" y="100748"/>
                    <a:pt x="198824" y="99414"/>
                  </a:cubicBezTo>
                  <a:cubicBezTo>
                    <a:pt x="212921" y="91603"/>
                    <a:pt x="231495" y="93794"/>
                    <a:pt x="235876" y="111320"/>
                  </a:cubicBezTo>
                  <a:cubicBezTo>
                    <a:pt x="237971" y="119575"/>
                    <a:pt x="237749" y="129227"/>
                    <a:pt x="235209" y="140276"/>
                  </a:cubicBezTo>
                  <a:cubicBezTo>
                    <a:pt x="229558" y="165359"/>
                    <a:pt x="217461" y="186663"/>
                    <a:pt x="198919" y="204189"/>
                  </a:cubicBezTo>
                  <a:cubicBezTo>
                    <a:pt x="180377" y="221715"/>
                    <a:pt x="159549" y="232256"/>
                    <a:pt x="136435" y="235812"/>
                  </a:cubicBezTo>
                  <a:cubicBezTo>
                    <a:pt x="101954" y="241082"/>
                    <a:pt x="70363" y="231875"/>
                    <a:pt x="41661" y="208190"/>
                  </a:cubicBezTo>
                  <a:cubicBezTo>
                    <a:pt x="38486" y="205586"/>
                    <a:pt x="36327" y="203681"/>
                    <a:pt x="35184" y="202474"/>
                  </a:cubicBezTo>
                  <a:cubicBezTo>
                    <a:pt x="33978" y="201332"/>
                    <a:pt x="32041" y="199172"/>
                    <a:pt x="29374" y="195998"/>
                  </a:cubicBezTo>
                  <a:cubicBezTo>
                    <a:pt x="5561" y="167423"/>
                    <a:pt x="-3773" y="135863"/>
                    <a:pt x="1370" y="101319"/>
                  </a:cubicBezTo>
                  <a:cubicBezTo>
                    <a:pt x="4799" y="78205"/>
                    <a:pt x="15245" y="57345"/>
                    <a:pt x="32708" y="38740"/>
                  </a:cubicBezTo>
                  <a:cubicBezTo>
                    <a:pt x="50170" y="20134"/>
                    <a:pt x="71411" y="7942"/>
                    <a:pt x="96430" y="2164"/>
                  </a:cubicBezTo>
                  <a:cubicBezTo>
                    <a:pt x="107479" y="-440"/>
                    <a:pt x="117131" y="-694"/>
                    <a:pt x="125386" y="1402"/>
                  </a:cubicBezTo>
                  <a:cubicBezTo>
                    <a:pt x="143007" y="5688"/>
                    <a:pt x="145198" y="24262"/>
                    <a:pt x="137483" y="38359"/>
                  </a:cubicBezTo>
                  <a:cubicBezTo>
                    <a:pt x="136149" y="40708"/>
                    <a:pt x="133736" y="42423"/>
                    <a:pt x="130244" y="43502"/>
                  </a:cubicBezTo>
                  <a:cubicBezTo>
                    <a:pt x="115670" y="48169"/>
                    <a:pt x="96430" y="48455"/>
                    <a:pt x="81095" y="59219"/>
                  </a:cubicBezTo>
                  <a:cubicBezTo>
                    <a:pt x="42518" y="86269"/>
                    <a:pt x="34994" y="133228"/>
                    <a:pt x="69760" y="16780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4" name="Free-form: Shape 616">
              <a:extLst>
                <a:ext uri="{FF2B5EF4-FFF2-40B4-BE49-F238E27FC236}">
                  <a16:creationId xmlns:a16="http://schemas.microsoft.com/office/drawing/2014/main" id="{67E36FE5-525A-F71B-542C-028091458D56}"/>
                </a:ext>
              </a:extLst>
            </p:cNvPr>
            <p:cNvSpPr/>
            <p:nvPr/>
          </p:nvSpPr>
          <p:spPr>
            <a:xfrm>
              <a:off x="5211998" y="5102484"/>
              <a:ext cx="227802" cy="236623"/>
            </a:xfrm>
            <a:custGeom>
              <a:avLst/>
              <a:gdLst>
                <a:gd name="connsiteX0" fmla="*/ 192310 w 227802"/>
                <a:gd name="connsiteY0" fmla="*/ 97063 h 236623"/>
                <a:gd name="connsiteX1" fmla="*/ 225838 w 227802"/>
                <a:gd name="connsiteY1" fmla="*/ 139640 h 236623"/>
                <a:gd name="connsiteX2" fmla="*/ 76391 w 227802"/>
                <a:gd name="connsiteY2" fmla="*/ 229270 h 236623"/>
                <a:gd name="connsiteX3" fmla="*/ 21146 w 227802"/>
                <a:gd name="connsiteY3" fmla="*/ 183931 h 236623"/>
                <a:gd name="connsiteX4" fmla="*/ 0 w 227802"/>
                <a:gd name="connsiteY4" fmla="*/ 118971 h 236623"/>
                <a:gd name="connsiteX5" fmla="*/ 66294 w 227802"/>
                <a:gd name="connsiteY5" fmla="*/ 10862 h 236623"/>
                <a:gd name="connsiteX6" fmla="*/ 117920 w 227802"/>
                <a:gd name="connsiteY6" fmla="*/ 480 h 236623"/>
                <a:gd name="connsiteX7" fmla="*/ 137827 w 227802"/>
                <a:gd name="connsiteY7" fmla="*/ 22768 h 236623"/>
                <a:gd name="connsiteX8" fmla="*/ 119539 w 227802"/>
                <a:gd name="connsiteY8" fmla="*/ 44580 h 236623"/>
                <a:gd name="connsiteX9" fmla="*/ 56960 w 227802"/>
                <a:gd name="connsiteY9" fmla="*/ 82966 h 236623"/>
                <a:gd name="connsiteX10" fmla="*/ 68580 w 227802"/>
                <a:gd name="connsiteY10" fmla="*/ 167834 h 236623"/>
                <a:gd name="connsiteX11" fmla="*/ 123920 w 227802"/>
                <a:gd name="connsiteY11" fmla="*/ 188027 h 236623"/>
                <a:gd name="connsiteX12" fmla="*/ 175355 w 227802"/>
                <a:gd name="connsiteY12" fmla="*/ 143069 h 236623"/>
                <a:gd name="connsiteX13" fmla="*/ 185738 w 227802"/>
                <a:gd name="connsiteY13" fmla="*/ 103064 h 236623"/>
                <a:gd name="connsiteX14" fmla="*/ 192310 w 227802"/>
                <a:gd name="connsiteY14" fmla="*/ 97063 h 236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7802" h="236623">
                  <a:moveTo>
                    <a:pt x="192310" y="97063"/>
                  </a:moveTo>
                  <a:cubicBezTo>
                    <a:pt x="226409" y="84966"/>
                    <a:pt x="231458" y="115256"/>
                    <a:pt x="225838" y="139640"/>
                  </a:cubicBezTo>
                  <a:cubicBezTo>
                    <a:pt x="209931" y="208029"/>
                    <a:pt x="146590" y="255559"/>
                    <a:pt x="76391" y="229270"/>
                  </a:cubicBezTo>
                  <a:cubicBezTo>
                    <a:pt x="55436" y="221460"/>
                    <a:pt x="37021" y="206347"/>
                    <a:pt x="21146" y="183931"/>
                  </a:cubicBezTo>
                  <a:cubicBezTo>
                    <a:pt x="7112" y="164119"/>
                    <a:pt x="64" y="142466"/>
                    <a:pt x="0" y="118971"/>
                  </a:cubicBezTo>
                  <a:cubicBezTo>
                    <a:pt x="-63" y="72108"/>
                    <a:pt x="22035" y="36072"/>
                    <a:pt x="66294" y="10862"/>
                  </a:cubicBezTo>
                  <a:cubicBezTo>
                    <a:pt x="81661" y="2099"/>
                    <a:pt x="98870" y="-1362"/>
                    <a:pt x="117920" y="480"/>
                  </a:cubicBezTo>
                  <a:cubicBezTo>
                    <a:pt x="129335" y="1616"/>
                    <a:pt x="137982" y="11298"/>
                    <a:pt x="137827" y="22768"/>
                  </a:cubicBezTo>
                  <a:cubicBezTo>
                    <a:pt x="137636" y="34833"/>
                    <a:pt x="131540" y="42104"/>
                    <a:pt x="119539" y="44580"/>
                  </a:cubicBezTo>
                  <a:cubicBezTo>
                    <a:pt x="90297" y="50581"/>
                    <a:pt x="69247" y="57534"/>
                    <a:pt x="56960" y="82966"/>
                  </a:cubicBezTo>
                  <a:cubicBezTo>
                    <a:pt x="41402" y="114970"/>
                    <a:pt x="45276" y="143259"/>
                    <a:pt x="68580" y="167834"/>
                  </a:cubicBezTo>
                  <a:cubicBezTo>
                    <a:pt x="83947" y="184153"/>
                    <a:pt x="102394" y="190884"/>
                    <a:pt x="123920" y="188027"/>
                  </a:cubicBezTo>
                  <a:cubicBezTo>
                    <a:pt x="146971" y="184979"/>
                    <a:pt x="164116" y="169993"/>
                    <a:pt x="175355" y="143069"/>
                  </a:cubicBezTo>
                  <a:cubicBezTo>
                    <a:pt x="179546" y="133068"/>
                    <a:pt x="179642" y="116304"/>
                    <a:pt x="185738" y="103064"/>
                  </a:cubicBezTo>
                  <a:cubicBezTo>
                    <a:pt x="187071" y="100143"/>
                    <a:pt x="189262" y="98143"/>
                    <a:pt x="192310" y="97063"/>
                  </a:cubicBezTo>
                  <a:close/>
                </a:path>
              </a:pathLst>
            </a:custGeom>
            <a:solidFill>
              <a:schemeClr val="accent1"/>
            </a:solidFill>
            <a:ln w="1905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  <p:sp>
          <p:nvSpPr>
            <p:cNvPr id="105" name="Free-form: Shape 617">
              <a:extLst>
                <a:ext uri="{FF2B5EF4-FFF2-40B4-BE49-F238E27FC236}">
                  <a16:creationId xmlns:a16="http://schemas.microsoft.com/office/drawing/2014/main" id="{9F02DA13-0689-8F36-B575-1620A129C024}"/>
                </a:ext>
              </a:extLst>
            </p:cNvPr>
            <p:cNvSpPr/>
            <p:nvPr/>
          </p:nvSpPr>
          <p:spPr>
            <a:xfrm>
              <a:off x="3506547" y="5559409"/>
              <a:ext cx="2867025" cy="266025"/>
            </a:xfrm>
            <a:custGeom>
              <a:avLst/>
              <a:gdLst>
                <a:gd name="connsiteX0" fmla="*/ 2867025 w 2867025"/>
                <a:gd name="connsiteY0" fmla="*/ 8374 h 266025"/>
                <a:gd name="connsiteX1" fmla="*/ 2867025 w 2867025"/>
                <a:gd name="connsiteY1" fmla="*/ 11136 h 266025"/>
                <a:gd name="connsiteX2" fmla="*/ 2859691 w 2867025"/>
                <a:gd name="connsiteY2" fmla="*/ 16946 h 266025"/>
                <a:gd name="connsiteX3" fmla="*/ 2858167 w 2867025"/>
                <a:gd name="connsiteY3" fmla="*/ 25138 h 266025"/>
                <a:gd name="connsiteX4" fmla="*/ 2867025 w 2867025"/>
                <a:gd name="connsiteY4" fmla="*/ 30186 h 266025"/>
                <a:gd name="connsiteX5" fmla="*/ 2867025 w 2867025"/>
                <a:gd name="connsiteY5" fmla="*/ 37425 h 266025"/>
                <a:gd name="connsiteX6" fmla="*/ 2638044 w 2867025"/>
                <a:gd name="connsiteY6" fmla="*/ 266025 h 266025"/>
                <a:gd name="connsiteX7" fmla="*/ 231172 w 2867025"/>
                <a:gd name="connsiteY7" fmla="*/ 266025 h 266025"/>
                <a:gd name="connsiteX8" fmla="*/ 0 w 2867025"/>
                <a:gd name="connsiteY8" fmla="*/ 35520 h 266025"/>
                <a:gd name="connsiteX9" fmla="*/ 0 w 2867025"/>
                <a:gd name="connsiteY9" fmla="*/ 19137 h 266025"/>
                <a:gd name="connsiteX10" fmla="*/ 38195 w 2867025"/>
                <a:gd name="connsiteY10" fmla="*/ 4468 h 266025"/>
                <a:gd name="connsiteX11" fmla="*/ 43910 w 2867025"/>
                <a:gd name="connsiteY11" fmla="*/ 11327 h 266025"/>
                <a:gd name="connsiteX12" fmla="*/ 57531 w 2867025"/>
                <a:gd name="connsiteY12" fmla="*/ 80859 h 266025"/>
                <a:gd name="connsiteX13" fmla="*/ 254794 w 2867025"/>
                <a:gd name="connsiteY13" fmla="*/ 218495 h 266025"/>
                <a:gd name="connsiteX14" fmla="*/ 2605088 w 2867025"/>
                <a:gd name="connsiteY14" fmla="*/ 218495 h 266025"/>
                <a:gd name="connsiteX15" fmla="*/ 2810256 w 2867025"/>
                <a:gd name="connsiteY15" fmla="*/ 81145 h 266025"/>
                <a:gd name="connsiteX16" fmla="*/ 2823401 w 2867025"/>
                <a:gd name="connsiteY16" fmla="*/ 10374 h 266025"/>
                <a:gd name="connsiteX17" fmla="*/ 2829401 w 2867025"/>
                <a:gd name="connsiteY17" fmla="*/ 3707 h 266025"/>
                <a:gd name="connsiteX18" fmla="*/ 2867025 w 2867025"/>
                <a:gd name="connsiteY18" fmla="*/ 8374 h 266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867025" h="266025">
                  <a:moveTo>
                    <a:pt x="2867025" y="8374"/>
                  </a:moveTo>
                  <a:cubicBezTo>
                    <a:pt x="2867025" y="9263"/>
                    <a:pt x="2867025" y="10184"/>
                    <a:pt x="2867025" y="11136"/>
                  </a:cubicBezTo>
                  <a:cubicBezTo>
                    <a:pt x="2863977" y="12851"/>
                    <a:pt x="2861532" y="14787"/>
                    <a:pt x="2859691" y="16946"/>
                  </a:cubicBezTo>
                  <a:cubicBezTo>
                    <a:pt x="2857278" y="19804"/>
                    <a:pt x="2856770" y="22534"/>
                    <a:pt x="2858167" y="25138"/>
                  </a:cubicBezTo>
                  <a:cubicBezTo>
                    <a:pt x="2859500" y="27741"/>
                    <a:pt x="2862453" y="29424"/>
                    <a:pt x="2867025" y="30186"/>
                  </a:cubicBezTo>
                  <a:lnTo>
                    <a:pt x="2867025" y="37425"/>
                  </a:lnTo>
                  <a:cubicBezTo>
                    <a:pt x="2848483" y="171855"/>
                    <a:pt x="2772156" y="248055"/>
                    <a:pt x="2638044" y="266025"/>
                  </a:cubicBezTo>
                  <a:lnTo>
                    <a:pt x="231172" y="266025"/>
                  </a:lnTo>
                  <a:cubicBezTo>
                    <a:pt x="95345" y="248499"/>
                    <a:pt x="18288" y="171664"/>
                    <a:pt x="0" y="35520"/>
                  </a:cubicBezTo>
                  <a:lnTo>
                    <a:pt x="0" y="19137"/>
                  </a:lnTo>
                  <a:cubicBezTo>
                    <a:pt x="7303" y="214"/>
                    <a:pt x="20034" y="-4675"/>
                    <a:pt x="38195" y="4468"/>
                  </a:cubicBezTo>
                  <a:cubicBezTo>
                    <a:pt x="41116" y="5929"/>
                    <a:pt x="43021" y="8215"/>
                    <a:pt x="43910" y="11327"/>
                  </a:cubicBezTo>
                  <a:cubicBezTo>
                    <a:pt x="50959" y="35711"/>
                    <a:pt x="48673" y="56856"/>
                    <a:pt x="57531" y="80859"/>
                  </a:cubicBezTo>
                  <a:cubicBezTo>
                    <a:pt x="91631" y="172617"/>
                    <a:pt x="157385" y="218495"/>
                    <a:pt x="254794" y="218495"/>
                  </a:cubicBezTo>
                  <a:cubicBezTo>
                    <a:pt x="709644" y="218368"/>
                    <a:pt x="1493075" y="218368"/>
                    <a:pt x="2605088" y="218495"/>
                  </a:cubicBezTo>
                  <a:cubicBezTo>
                    <a:pt x="2709418" y="218495"/>
                    <a:pt x="2777808" y="172712"/>
                    <a:pt x="2810256" y="81145"/>
                  </a:cubicBezTo>
                  <a:cubicBezTo>
                    <a:pt x="2818353" y="58285"/>
                    <a:pt x="2815876" y="33139"/>
                    <a:pt x="2823401" y="10374"/>
                  </a:cubicBezTo>
                  <a:cubicBezTo>
                    <a:pt x="2824417" y="7263"/>
                    <a:pt x="2826417" y="5040"/>
                    <a:pt x="2829401" y="3707"/>
                  </a:cubicBezTo>
                  <a:cubicBezTo>
                    <a:pt x="2840768" y="-1437"/>
                    <a:pt x="2853309" y="119"/>
                    <a:pt x="2867025" y="8374"/>
                  </a:cubicBezTo>
                  <a:close/>
                </a:path>
              </a:pathLst>
            </a:custGeom>
            <a:grpFill/>
            <a:ln w="190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fr-FR" dirty="0"/>
            </a:p>
          </p:txBody>
        </p:sp>
      </p:grp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01286D-4F82-4175-4C7B-E5C31676DD47}"/>
              </a:ext>
            </a:extLst>
          </p:cNvPr>
          <p:cNvGrpSpPr/>
          <p:nvPr/>
        </p:nvGrpSpPr>
        <p:grpSpPr>
          <a:xfrm>
            <a:off x="5716093" y="2910493"/>
            <a:ext cx="1903578" cy="1602987"/>
            <a:chOff x="6971981" y="3470484"/>
            <a:chExt cx="692646" cy="583273"/>
          </a:xfrm>
        </p:grpSpPr>
        <p:sp>
          <p:nvSpPr>
            <p:cNvPr id="119" name="Freeform 681">
              <a:extLst>
                <a:ext uri="{FF2B5EF4-FFF2-40B4-BE49-F238E27FC236}">
                  <a16:creationId xmlns:a16="http://schemas.microsoft.com/office/drawing/2014/main" id="{003F1F4A-755D-88E8-BFA2-1866835872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0101" y="3541617"/>
              <a:ext cx="589280" cy="213089"/>
            </a:xfrm>
            <a:custGeom>
              <a:avLst/>
              <a:gdLst>
                <a:gd name="T0" fmla="*/ 8 w 391"/>
                <a:gd name="T1" fmla="*/ 142 h 142"/>
                <a:gd name="T2" fmla="*/ 0 w 391"/>
                <a:gd name="T3" fmla="*/ 135 h 142"/>
                <a:gd name="T4" fmla="*/ 0 w 391"/>
                <a:gd name="T5" fmla="*/ 7 h 142"/>
                <a:gd name="T6" fmla="*/ 8 w 391"/>
                <a:gd name="T7" fmla="*/ 0 h 142"/>
                <a:gd name="T8" fmla="*/ 384 w 391"/>
                <a:gd name="T9" fmla="*/ 0 h 142"/>
                <a:gd name="T10" fmla="*/ 391 w 391"/>
                <a:gd name="T11" fmla="*/ 7 h 142"/>
                <a:gd name="T12" fmla="*/ 391 w 391"/>
                <a:gd name="T13" fmla="*/ 98 h 142"/>
                <a:gd name="T14" fmla="*/ 384 w 391"/>
                <a:gd name="T15" fmla="*/ 106 h 142"/>
                <a:gd name="T16" fmla="*/ 377 w 391"/>
                <a:gd name="T17" fmla="*/ 98 h 142"/>
                <a:gd name="T18" fmla="*/ 377 w 391"/>
                <a:gd name="T19" fmla="*/ 14 h 142"/>
                <a:gd name="T20" fmla="*/ 15 w 391"/>
                <a:gd name="T21" fmla="*/ 14 h 142"/>
                <a:gd name="T22" fmla="*/ 15 w 391"/>
                <a:gd name="T23" fmla="*/ 135 h 142"/>
                <a:gd name="T24" fmla="*/ 8 w 391"/>
                <a:gd name="T25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1" h="142">
                  <a:moveTo>
                    <a:pt x="8" y="142"/>
                  </a:moveTo>
                  <a:cubicBezTo>
                    <a:pt x="4" y="142"/>
                    <a:pt x="0" y="139"/>
                    <a:pt x="0" y="135"/>
                  </a:cubicBezTo>
                  <a:lnTo>
                    <a:pt x="0" y="7"/>
                  </a:lnTo>
                  <a:cubicBezTo>
                    <a:pt x="0" y="3"/>
                    <a:pt x="4" y="0"/>
                    <a:pt x="8" y="0"/>
                  </a:cubicBezTo>
                  <a:lnTo>
                    <a:pt x="384" y="0"/>
                  </a:lnTo>
                  <a:cubicBezTo>
                    <a:pt x="388" y="0"/>
                    <a:pt x="391" y="3"/>
                    <a:pt x="391" y="7"/>
                  </a:cubicBezTo>
                  <a:lnTo>
                    <a:pt x="391" y="98"/>
                  </a:lnTo>
                  <a:cubicBezTo>
                    <a:pt x="391" y="103"/>
                    <a:pt x="388" y="106"/>
                    <a:pt x="384" y="106"/>
                  </a:cubicBezTo>
                  <a:cubicBezTo>
                    <a:pt x="380" y="106"/>
                    <a:pt x="377" y="103"/>
                    <a:pt x="377" y="98"/>
                  </a:cubicBezTo>
                  <a:lnTo>
                    <a:pt x="377" y="14"/>
                  </a:lnTo>
                  <a:lnTo>
                    <a:pt x="15" y="14"/>
                  </a:lnTo>
                  <a:lnTo>
                    <a:pt x="15" y="135"/>
                  </a:lnTo>
                  <a:cubicBezTo>
                    <a:pt x="15" y="139"/>
                    <a:pt x="12" y="142"/>
                    <a:pt x="8" y="142"/>
                  </a:cubicBezTo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0" name="Freeform 682">
              <a:extLst>
                <a:ext uri="{FF2B5EF4-FFF2-40B4-BE49-F238E27FC236}">
                  <a16:creationId xmlns:a16="http://schemas.microsoft.com/office/drawing/2014/main" id="{6106E170-B107-940B-4756-EBC580635B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25264" y="3862564"/>
              <a:ext cx="284117" cy="144690"/>
            </a:xfrm>
            <a:custGeom>
              <a:avLst/>
              <a:gdLst>
                <a:gd name="T0" fmla="*/ 181 w 188"/>
                <a:gd name="T1" fmla="*/ 96 h 96"/>
                <a:gd name="T2" fmla="*/ 7 w 188"/>
                <a:gd name="T3" fmla="*/ 96 h 96"/>
                <a:gd name="T4" fmla="*/ 0 w 188"/>
                <a:gd name="T5" fmla="*/ 89 h 96"/>
                <a:gd name="T6" fmla="*/ 7 w 188"/>
                <a:gd name="T7" fmla="*/ 82 h 96"/>
                <a:gd name="T8" fmla="*/ 174 w 188"/>
                <a:gd name="T9" fmla="*/ 82 h 96"/>
                <a:gd name="T10" fmla="*/ 174 w 188"/>
                <a:gd name="T11" fmla="*/ 8 h 96"/>
                <a:gd name="T12" fmla="*/ 181 w 188"/>
                <a:gd name="T13" fmla="*/ 0 h 96"/>
                <a:gd name="T14" fmla="*/ 188 w 188"/>
                <a:gd name="T15" fmla="*/ 8 h 96"/>
                <a:gd name="T16" fmla="*/ 188 w 188"/>
                <a:gd name="T17" fmla="*/ 89 h 96"/>
                <a:gd name="T18" fmla="*/ 181 w 188"/>
                <a:gd name="T1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8" h="96">
                  <a:moveTo>
                    <a:pt x="181" y="96"/>
                  </a:moveTo>
                  <a:lnTo>
                    <a:pt x="7" y="96"/>
                  </a:lnTo>
                  <a:cubicBezTo>
                    <a:pt x="3" y="96"/>
                    <a:pt x="0" y="93"/>
                    <a:pt x="0" y="89"/>
                  </a:cubicBezTo>
                  <a:cubicBezTo>
                    <a:pt x="0" y="85"/>
                    <a:pt x="3" y="82"/>
                    <a:pt x="7" y="82"/>
                  </a:cubicBezTo>
                  <a:lnTo>
                    <a:pt x="174" y="82"/>
                  </a:lnTo>
                  <a:lnTo>
                    <a:pt x="174" y="8"/>
                  </a:lnTo>
                  <a:cubicBezTo>
                    <a:pt x="174" y="4"/>
                    <a:pt x="177" y="0"/>
                    <a:pt x="181" y="0"/>
                  </a:cubicBezTo>
                  <a:cubicBezTo>
                    <a:pt x="185" y="0"/>
                    <a:pt x="188" y="4"/>
                    <a:pt x="188" y="8"/>
                  </a:cubicBezTo>
                  <a:lnTo>
                    <a:pt x="188" y="89"/>
                  </a:lnTo>
                  <a:cubicBezTo>
                    <a:pt x="188" y="93"/>
                    <a:pt x="185" y="96"/>
                    <a:pt x="181" y="96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1" name="Freeform 683">
              <a:extLst>
                <a:ext uri="{FF2B5EF4-FFF2-40B4-BE49-F238E27FC236}">
                  <a16:creationId xmlns:a16="http://schemas.microsoft.com/office/drawing/2014/main" id="{206DC836-682D-34BB-3AA6-6FFB698255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48909" y="3699460"/>
              <a:ext cx="215718" cy="152581"/>
            </a:xfrm>
            <a:custGeom>
              <a:avLst/>
              <a:gdLst>
                <a:gd name="T0" fmla="*/ 37 w 144"/>
                <a:gd name="T1" fmla="*/ 15 h 101"/>
                <a:gd name="T2" fmla="*/ 15 w 144"/>
                <a:gd name="T3" fmla="*/ 37 h 101"/>
                <a:gd name="T4" fmla="*/ 15 w 144"/>
                <a:gd name="T5" fmla="*/ 65 h 101"/>
                <a:gd name="T6" fmla="*/ 37 w 144"/>
                <a:gd name="T7" fmla="*/ 87 h 101"/>
                <a:gd name="T8" fmla="*/ 107 w 144"/>
                <a:gd name="T9" fmla="*/ 87 h 101"/>
                <a:gd name="T10" fmla="*/ 130 w 144"/>
                <a:gd name="T11" fmla="*/ 65 h 101"/>
                <a:gd name="T12" fmla="*/ 130 w 144"/>
                <a:gd name="T13" fmla="*/ 37 h 101"/>
                <a:gd name="T14" fmla="*/ 107 w 144"/>
                <a:gd name="T15" fmla="*/ 15 h 101"/>
                <a:gd name="T16" fmla="*/ 37 w 144"/>
                <a:gd name="T17" fmla="*/ 15 h 101"/>
                <a:gd name="T18" fmla="*/ 107 w 144"/>
                <a:gd name="T19" fmla="*/ 101 h 101"/>
                <a:gd name="T20" fmla="*/ 37 w 144"/>
                <a:gd name="T21" fmla="*/ 101 h 101"/>
                <a:gd name="T22" fmla="*/ 0 w 144"/>
                <a:gd name="T23" fmla="*/ 65 h 101"/>
                <a:gd name="T24" fmla="*/ 0 w 144"/>
                <a:gd name="T25" fmla="*/ 37 h 101"/>
                <a:gd name="T26" fmla="*/ 37 w 144"/>
                <a:gd name="T27" fmla="*/ 0 h 101"/>
                <a:gd name="T28" fmla="*/ 107 w 144"/>
                <a:gd name="T29" fmla="*/ 0 h 101"/>
                <a:gd name="T30" fmla="*/ 144 w 144"/>
                <a:gd name="T31" fmla="*/ 37 h 101"/>
                <a:gd name="T32" fmla="*/ 144 w 144"/>
                <a:gd name="T33" fmla="*/ 65 h 101"/>
                <a:gd name="T34" fmla="*/ 107 w 144"/>
                <a:gd name="T3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4" h="101">
                  <a:moveTo>
                    <a:pt x="37" y="15"/>
                  </a:moveTo>
                  <a:cubicBezTo>
                    <a:pt x="24" y="15"/>
                    <a:pt x="15" y="25"/>
                    <a:pt x="15" y="37"/>
                  </a:cubicBezTo>
                  <a:lnTo>
                    <a:pt x="15" y="65"/>
                  </a:lnTo>
                  <a:cubicBezTo>
                    <a:pt x="15" y="77"/>
                    <a:pt x="24" y="87"/>
                    <a:pt x="37" y="87"/>
                  </a:cubicBezTo>
                  <a:lnTo>
                    <a:pt x="107" y="87"/>
                  </a:lnTo>
                  <a:cubicBezTo>
                    <a:pt x="120" y="87"/>
                    <a:pt x="130" y="77"/>
                    <a:pt x="130" y="65"/>
                  </a:cubicBezTo>
                  <a:lnTo>
                    <a:pt x="130" y="37"/>
                  </a:lnTo>
                  <a:cubicBezTo>
                    <a:pt x="130" y="25"/>
                    <a:pt x="120" y="15"/>
                    <a:pt x="107" y="15"/>
                  </a:cubicBezTo>
                  <a:lnTo>
                    <a:pt x="37" y="15"/>
                  </a:lnTo>
                  <a:close/>
                  <a:moveTo>
                    <a:pt x="107" y="101"/>
                  </a:moveTo>
                  <a:lnTo>
                    <a:pt x="37" y="101"/>
                  </a:lnTo>
                  <a:cubicBezTo>
                    <a:pt x="16" y="101"/>
                    <a:pt x="0" y="85"/>
                    <a:pt x="0" y="65"/>
                  </a:cubicBezTo>
                  <a:lnTo>
                    <a:pt x="0" y="37"/>
                  </a:lnTo>
                  <a:cubicBezTo>
                    <a:pt x="0" y="17"/>
                    <a:pt x="16" y="0"/>
                    <a:pt x="37" y="0"/>
                  </a:cubicBezTo>
                  <a:lnTo>
                    <a:pt x="107" y="0"/>
                  </a:lnTo>
                  <a:cubicBezTo>
                    <a:pt x="128" y="0"/>
                    <a:pt x="144" y="17"/>
                    <a:pt x="144" y="37"/>
                  </a:cubicBezTo>
                  <a:lnTo>
                    <a:pt x="144" y="65"/>
                  </a:lnTo>
                  <a:cubicBezTo>
                    <a:pt x="144" y="85"/>
                    <a:pt x="128" y="101"/>
                    <a:pt x="107" y="101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2" name="Freeform 684">
              <a:extLst>
                <a:ext uri="{FF2B5EF4-FFF2-40B4-BE49-F238E27FC236}">
                  <a16:creationId xmlns:a16="http://schemas.microsoft.com/office/drawing/2014/main" id="{C544603F-2156-2707-5A8D-B50DC6854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376" y="3470484"/>
              <a:ext cx="360409" cy="89444"/>
            </a:xfrm>
            <a:custGeom>
              <a:avLst/>
              <a:gdLst>
                <a:gd name="T0" fmla="*/ 230 w 238"/>
                <a:gd name="T1" fmla="*/ 59 h 59"/>
                <a:gd name="T2" fmla="*/ 223 w 238"/>
                <a:gd name="T3" fmla="*/ 54 h 59"/>
                <a:gd name="T4" fmla="*/ 206 w 238"/>
                <a:gd name="T5" fmla="*/ 17 h 59"/>
                <a:gd name="T6" fmla="*/ 10 w 238"/>
                <a:gd name="T7" fmla="*/ 59 h 59"/>
                <a:gd name="T8" fmla="*/ 1 w 238"/>
                <a:gd name="T9" fmla="*/ 53 h 59"/>
                <a:gd name="T10" fmla="*/ 7 w 238"/>
                <a:gd name="T11" fmla="*/ 44 h 59"/>
                <a:gd name="T12" fmla="*/ 209 w 238"/>
                <a:gd name="T13" fmla="*/ 1 h 59"/>
                <a:gd name="T14" fmla="*/ 217 w 238"/>
                <a:gd name="T15" fmla="*/ 5 h 59"/>
                <a:gd name="T16" fmla="*/ 236 w 238"/>
                <a:gd name="T17" fmla="*/ 49 h 59"/>
                <a:gd name="T18" fmla="*/ 232 w 238"/>
                <a:gd name="T19" fmla="*/ 58 h 59"/>
                <a:gd name="T20" fmla="*/ 230 w 238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8" h="59">
                  <a:moveTo>
                    <a:pt x="230" y="59"/>
                  </a:moveTo>
                  <a:cubicBezTo>
                    <a:pt x="227" y="59"/>
                    <a:pt x="224" y="57"/>
                    <a:pt x="223" y="54"/>
                  </a:cubicBezTo>
                  <a:lnTo>
                    <a:pt x="206" y="17"/>
                  </a:lnTo>
                  <a:lnTo>
                    <a:pt x="10" y="59"/>
                  </a:lnTo>
                  <a:cubicBezTo>
                    <a:pt x="6" y="59"/>
                    <a:pt x="2" y="57"/>
                    <a:pt x="1" y="53"/>
                  </a:cubicBezTo>
                  <a:cubicBezTo>
                    <a:pt x="0" y="49"/>
                    <a:pt x="3" y="45"/>
                    <a:pt x="7" y="44"/>
                  </a:cubicBezTo>
                  <a:lnTo>
                    <a:pt x="209" y="1"/>
                  </a:lnTo>
                  <a:cubicBezTo>
                    <a:pt x="213" y="0"/>
                    <a:pt x="216" y="2"/>
                    <a:pt x="217" y="5"/>
                  </a:cubicBezTo>
                  <a:lnTo>
                    <a:pt x="236" y="49"/>
                  </a:lnTo>
                  <a:cubicBezTo>
                    <a:pt x="238" y="52"/>
                    <a:pt x="236" y="57"/>
                    <a:pt x="232" y="58"/>
                  </a:cubicBezTo>
                  <a:cubicBezTo>
                    <a:pt x="232" y="59"/>
                    <a:pt x="231" y="59"/>
                    <a:pt x="230" y="59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124" name="Freeform 686">
              <a:extLst>
                <a:ext uri="{FF2B5EF4-FFF2-40B4-BE49-F238E27FC236}">
                  <a16:creationId xmlns:a16="http://schemas.microsoft.com/office/drawing/2014/main" id="{0961B805-75AA-08E4-784B-00D3779254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971981" y="3745029"/>
              <a:ext cx="389173" cy="308728"/>
            </a:xfrm>
            <a:custGeom>
              <a:avLst/>
              <a:gdLst>
                <a:gd name="T0" fmla="*/ 257 w 311"/>
                <a:gd name="T1" fmla="*/ 247 h 247"/>
                <a:gd name="T2" fmla="*/ 227 w 311"/>
                <a:gd name="T3" fmla="*/ 247 h 247"/>
                <a:gd name="T4" fmla="*/ 220 w 311"/>
                <a:gd name="T5" fmla="*/ 243 h 247"/>
                <a:gd name="T6" fmla="*/ 212 w 311"/>
                <a:gd name="T7" fmla="*/ 224 h 247"/>
                <a:gd name="T8" fmla="*/ 133 w 311"/>
                <a:gd name="T9" fmla="*/ 222 h 247"/>
                <a:gd name="T10" fmla="*/ 119 w 311"/>
                <a:gd name="T11" fmla="*/ 244 h 247"/>
                <a:gd name="T12" fmla="*/ 113 w 311"/>
                <a:gd name="T13" fmla="*/ 247 h 247"/>
                <a:gd name="T14" fmla="*/ 87 w 311"/>
                <a:gd name="T15" fmla="*/ 247 h 247"/>
                <a:gd name="T16" fmla="*/ 80 w 311"/>
                <a:gd name="T17" fmla="*/ 240 h 247"/>
                <a:gd name="T18" fmla="*/ 79 w 311"/>
                <a:gd name="T19" fmla="*/ 201 h 247"/>
                <a:gd name="T20" fmla="*/ 13 w 311"/>
                <a:gd name="T21" fmla="*/ 147 h 247"/>
                <a:gd name="T22" fmla="*/ 4 w 311"/>
                <a:gd name="T23" fmla="*/ 104 h 247"/>
                <a:gd name="T24" fmla="*/ 11 w 311"/>
                <a:gd name="T25" fmla="*/ 98 h 247"/>
                <a:gd name="T26" fmla="*/ 11 w 311"/>
                <a:gd name="T27" fmla="*/ 98 h 247"/>
                <a:gd name="T28" fmla="*/ 29 w 311"/>
                <a:gd name="T29" fmla="*/ 98 h 247"/>
                <a:gd name="T30" fmla="*/ 29 w 311"/>
                <a:gd name="T31" fmla="*/ 98 h 247"/>
                <a:gd name="T32" fmla="*/ 49 w 311"/>
                <a:gd name="T33" fmla="*/ 80 h 247"/>
                <a:gd name="T34" fmla="*/ 53 w 311"/>
                <a:gd name="T35" fmla="*/ 65 h 247"/>
                <a:gd name="T36" fmla="*/ 48 w 311"/>
                <a:gd name="T37" fmla="*/ 58 h 247"/>
                <a:gd name="T38" fmla="*/ 44 w 311"/>
                <a:gd name="T39" fmla="*/ 50 h 247"/>
                <a:gd name="T40" fmla="*/ 67 w 311"/>
                <a:gd name="T41" fmla="*/ 35 h 247"/>
                <a:gd name="T42" fmla="*/ 110 w 311"/>
                <a:gd name="T43" fmla="*/ 70 h 247"/>
                <a:gd name="T44" fmla="*/ 108 w 311"/>
                <a:gd name="T45" fmla="*/ 80 h 247"/>
                <a:gd name="T46" fmla="*/ 98 w 311"/>
                <a:gd name="T47" fmla="*/ 79 h 247"/>
                <a:gd name="T48" fmla="*/ 67 w 311"/>
                <a:gd name="T49" fmla="*/ 50 h 247"/>
                <a:gd name="T50" fmla="*/ 61 w 311"/>
                <a:gd name="T51" fmla="*/ 51 h 247"/>
                <a:gd name="T52" fmla="*/ 67 w 311"/>
                <a:gd name="T53" fmla="*/ 61 h 247"/>
                <a:gd name="T54" fmla="*/ 61 w 311"/>
                <a:gd name="T55" fmla="*/ 88 h 247"/>
                <a:gd name="T56" fmla="*/ 28 w 311"/>
                <a:gd name="T57" fmla="*/ 113 h 247"/>
                <a:gd name="T58" fmla="*/ 18 w 311"/>
                <a:gd name="T59" fmla="*/ 113 h 247"/>
                <a:gd name="T60" fmla="*/ 23 w 311"/>
                <a:gd name="T61" fmla="*/ 137 h 247"/>
                <a:gd name="T62" fmla="*/ 90 w 311"/>
                <a:gd name="T63" fmla="*/ 191 h 247"/>
                <a:gd name="T64" fmla="*/ 93 w 311"/>
                <a:gd name="T65" fmla="*/ 197 h 247"/>
                <a:gd name="T66" fmla="*/ 94 w 311"/>
                <a:gd name="T67" fmla="*/ 233 h 247"/>
                <a:gd name="T68" fmla="*/ 109 w 311"/>
                <a:gd name="T69" fmla="*/ 233 h 247"/>
                <a:gd name="T70" fmla="*/ 124 w 311"/>
                <a:gd name="T71" fmla="*/ 209 h 247"/>
                <a:gd name="T72" fmla="*/ 133 w 311"/>
                <a:gd name="T73" fmla="*/ 207 h 247"/>
                <a:gd name="T74" fmla="*/ 215 w 311"/>
                <a:gd name="T75" fmla="*/ 209 h 247"/>
                <a:gd name="T76" fmla="*/ 223 w 311"/>
                <a:gd name="T77" fmla="*/ 213 h 247"/>
                <a:gd name="T78" fmla="*/ 232 w 311"/>
                <a:gd name="T79" fmla="*/ 233 h 247"/>
                <a:gd name="T80" fmla="*/ 250 w 311"/>
                <a:gd name="T81" fmla="*/ 233 h 247"/>
                <a:gd name="T82" fmla="*/ 250 w 311"/>
                <a:gd name="T83" fmla="*/ 193 h 247"/>
                <a:gd name="T84" fmla="*/ 252 w 311"/>
                <a:gd name="T85" fmla="*/ 188 h 247"/>
                <a:gd name="T86" fmla="*/ 267 w 311"/>
                <a:gd name="T87" fmla="*/ 90 h 247"/>
                <a:gd name="T88" fmla="*/ 121 w 311"/>
                <a:gd name="T89" fmla="*/ 64 h 247"/>
                <a:gd name="T90" fmla="*/ 111 w 311"/>
                <a:gd name="T91" fmla="*/ 60 h 247"/>
                <a:gd name="T92" fmla="*/ 115 w 311"/>
                <a:gd name="T93" fmla="*/ 50 h 247"/>
                <a:gd name="T94" fmla="*/ 280 w 311"/>
                <a:gd name="T95" fmla="*/ 83 h 247"/>
                <a:gd name="T96" fmla="*/ 264 w 311"/>
                <a:gd name="T97" fmla="*/ 196 h 247"/>
                <a:gd name="T98" fmla="*/ 264 w 311"/>
                <a:gd name="T99" fmla="*/ 240 h 247"/>
                <a:gd name="T100" fmla="*/ 257 w 311"/>
                <a:gd name="T101" fmla="*/ 247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247">
                  <a:moveTo>
                    <a:pt x="257" y="247"/>
                  </a:moveTo>
                  <a:lnTo>
                    <a:pt x="227" y="247"/>
                  </a:lnTo>
                  <a:cubicBezTo>
                    <a:pt x="224" y="247"/>
                    <a:pt x="222" y="246"/>
                    <a:pt x="220" y="243"/>
                  </a:cubicBezTo>
                  <a:lnTo>
                    <a:pt x="212" y="224"/>
                  </a:lnTo>
                  <a:cubicBezTo>
                    <a:pt x="198" y="227"/>
                    <a:pt x="162" y="232"/>
                    <a:pt x="133" y="222"/>
                  </a:cubicBezTo>
                  <a:lnTo>
                    <a:pt x="119" y="244"/>
                  </a:lnTo>
                  <a:cubicBezTo>
                    <a:pt x="117" y="246"/>
                    <a:pt x="115" y="247"/>
                    <a:pt x="113" y="247"/>
                  </a:cubicBezTo>
                  <a:lnTo>
                    <a:pt x="87" y="247"/>
                  </a:lnTo>
                  <a:cubicBezTo>
                    <a:pt x="83" y="247"/>
                    <a:pt x="80" y="244"/>
                    <a:pt x="80" y="240"/>
                  </a:cubicBezTo>
                  <a:lnTo>
                    <a:pt x="79" y="201"/>
                  </a:lnTo>
                  <a:cubicBezTo>
                    <a:pt x="67" y="192"/>
                    <a:pt x="23" y="157"/>
                    <a:pt x="13" y="147"/>
                  </a:cubicBezTo>
                  <a:cubicBezTo>
                    <a:pt x="0" y="134"/>
                    <a:pt x="3" y="107"/>
                    <a:pt x="4" y="104"/>
                  </a:cubicBezTo>
                  <a:cubicBezTo>
                    <a:pt x="4" y="101"/>
                    <a:pt x="7" y="98"/>
                    <a:pt x="11" y="98"/>
                  </a:cubicBezTo>
                  <a:lnTo>
                    <a:pt x="11" y="98"/>
                  </a:lnTo>
                  <a:lnTo>
                    <a:pt x="29" y="98"/>
                  </a:lnTo>
                  <a:cubicBezTo>
                    <a:pt x="29" y="98"/>
                    <a:pt x="29" y="98"/>
                    <a:pt x="29" y="98"/>
                  </a:cubicBezTo>
                  <a:cubicBezTo>
                    <a:pt x="29" y="98"/>
                    <a:pt x="37" y="98"/>
                    <a:pt x="49" y="80"/>
                  </a:cubicBezTo>
                  <a:cubicBezTo>
                    <a:pt x="52" y="74"/>
                    <a:pt x="54" y="69"/>
                    <a:pt x="53" y="65"/>
                  </a:cubicBezTo>
                  <a:cubicBezTo>
                    <a:pt x="51" y="60"/>
                    <a:pt x="48" y="58"/>
                    <a:pt x="48" y="58"/>
                  </a:cubicBezTo>
                  <a:cubicBezTo>
                    <a:pt x="45" y="57"/>
                    <a:pt x="43" y="53"/>
                    <a:pt x="44" y="50"/>
                  </a:cubicBezTo>
                  <a:cubicBezTo>
                    <a:pt x="45" y="44"/>
                    <a:pt x="52" y="35"/>
                    <a:pt x="67" y="35"/>
                  </a:cubicBezTo>
                  <a:cubicBezTo>
                    <a:pt x="83" y="35"/>
                    <a:pt x="104" y="62"/>
                    <a:pt x="110" y="70"/>
                  </a:cubicBezTo>
                  <a:cubicBezTo>
                    <a:pt x="112" y="73"/>
                    <a:pt x="111" y="78"/>
                    <a:pt x="108" y="80"/>
                  </a:cubicBezTo>
                  <a:cubicBezTo>
                    <a:pt x="104" y="83"/>
                    <a:pt x="100" y="82"/>
                    <a:pt x="98" y="79"/>
                  </a:cubicBezTo>
                  <a:cubicBezTo>
                    <a:pt x="88" y="65"/>
                    <a:pt x="73" y="50"/>
                    <a:pt x="67" y="50"/>
                  </a:cubicBezTo>
                  <a:cubicBezTo>
                    <a:pt x="64" y="50"/>
                    <a:pt x="63" y="50"/>
                    <a:pt x="61" y="51"/>
                  </a:cubicBezTo>
                  <a:cubicBezTo>
                    <a:pt x="63" y="53"/>
                    <a:pt x="66" y="57"/>
                    <a:pt x="67" y="61"/>
                  </a:cubicBezTo>
                  <a:cubicBezTo>
                    <a:pt x="69" y="69"/>
                    <a:pt x="67" y="78"/>
                    <a:pt x="61" y="88"/>
                  </a:cubicBezTo>
                  <a:cubicBezTo>
                    <a:pt x="46" y="112"/>
                    <a:pt x="32" y="113"/>
                    <a:pt x="28" y="113"/>
                  </a:cubicBezTo>
                  <a:lnTo>
                    <a:pt x="18" y="113"/>
                  </a:lnTo>
                  <a:cubicBezTo>
                    <a:pt x="17" y="121"/>
                    <a:pt x="19" y="132"/>
                    <a:pt x="23" y="137"/>
                  </a:cubicBezTo>
                  <a:cubicBezTo>
                    <a:pt x="32" y="145"/>
                    <a:pt x="71" y="176"/>
                    <a:pt x="90" y="191"/>
                  </a:cubicBezTo>
                  <a:cubicBezTo>
                    <a:pt x="92" y="192"/>
                    <a:pt x="93" y="195"/>
                    <a:pt x="93" y="197"/>
                  </a:cubicBezTo>
                  <a:lnTo>
                    <a:pt x="94" y="233"/>
                  </a:lnTo>
                  <a:lnTo>
                    <a:pt x="109" y="233"/>
                  </a:lnTo>
                  <a:lnTo>
                    <a:pt x="124" y="209"/>
                  </a:lnTo>
                  <a:cubicBezTo>
                    <a:pt x="126" y="206"/>
                    <a:pt x="130" y="205"/>
                    <a:pt x="133" y="207"/>
                  </a:cubicBezTo>
                  <a:cubicBezTo>
                    <a:pt x="165" y="220"/>
                    <a:pt x="215" y="209"/>
                    <a:pt x="215" y="209"/>
                  </a:cubicBezTo>
                  <a:cubicBezTo>
                    <a:pt x="219" y="208"/>
                    <a:pt x="222" y="210"/>
                    <a:pt x="223" y="213"/>
                  </a:cubicBezTo>
                  <a:lnTo>
                    <a:pt x="232" y="233"/>
                  </a:lnTo>
                  <a:lnTo>
                    <a:pt x="250" y="233"/>
                  </a:lnTo>
                  <a:lnTo>
                    <a:pt x="250" y="193"/>
                  </a:lnTo>
                  <a:cubicBezTo>
                    <a:pt x="250" y="191"/>
                    <a:pt x="251" y="189"/>
                    <a:pt x="252" y="188"/>
                  </a:cubicBezTo>
                  <a:cubicBezTo>
                    <a:pt x="254" y="186"/>
                    <a:pt x="297" y="143"/>
                    <a:pt x="267" y="90"/>
                  </a:cubicBezTo>
                  <a:cubicBezTo>
                    <a:pt x="226" y="18"/>
                    <a:pt x="125" y="62"/>
                    <a:pt x="121" y="64"/>
                  </a:cubicBezTo>
                  <a:cubicBezTo>
                    <a:pt x="117" y="65"/>
                    <a:pt x="113" y="64"/>
                    <a:pt x="111" y="60"/>
                  </a:cubicBezTo>
                  <a:cubicBezTo>
                    <a:pt x="110" y="56"/>
                    <a:pt x="111" y="52"/>
                    <a:pt x="115" y="50"/>
                  </a:cubicBezTo>
                  <a:cubicBezTo>
                    <a:pt x="116" y="50"/>
                    <a:pt x="232" y="0"/>
                    <a:pt x="280" y="83"/>
                  </a:cubicBezTo>
                  <a:cubicBezTo>
                    <a:pt x="311" y="138"/>
                    <a:pt x="274" y="185"/>
                    <a:pt x="264" y="196"/>
                  </a:cubicBezTo>
                  <a:lnTo>
                    <a:pt x="264" y="240"/>
                  </a:lnTo>
                  <a:cubicBezTo>
                    <a:pt x="264" y="244"/>
                    <a:pt x="261" y="247"/>
                    <a:pt x="257" y="247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D8DD19FA-9294-9A94-8526-89D5BC5EBDEC}"/>
              </a:ext>
            </a:extLst>
          </p:cNvPr>
          <p:cNvGrpSpPr/>
          <p:nvPr/>
        </p:nvGrpSpPr>
        <p:grpSpPr>
          <a:xfrm>
            <a:off x="952100" y="2629793"/>
            <a:ext cx="1741000" cy="2077209"/>
            <a:chOff x="1324128" y="2655642"/>
            <a:chExt cx="652752" cy="778807"/>
          </a:xfrm>
        </p:grpSpPr>
        <p:sp>
          <p:nvSpPr>
            <p:cNvPr id="87" name="Freeform 61">
              <a:extLst>
                <a:ext uri="{FF2B5EF4-FFF2-40B4-BE49-F238E27FC236}">
                  <a16:creationId xmlns:a16="http://schemas.microsoft.com/office/drawing/2014/main" id="{76EAB2FE-F8B5-BCB4-355B-94CDBF572E01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324128" y="2765309"/>
              <a:ext cx="652752" cy="669140"/>
            </a:xfrm>
            <a:custGeom>
              <a:avLst/>
              <a:gdLst>
                <a:gd name="T0" fmla="*/ 1817 w 2250"/>
                <a:gd name="T1" fmla="*/ 2293 h 2293"/>
                <a:gd name="T2" fmla="*/ 1806 w 2250"/>
                <a:gd name="T3" fmla="*/ 2292 h 2293"/>
                <a:gd name="T4" fmla="*/ 32 w 2250"/>
                <a:gd name="T5" fmla="*/ 1813 h 2293"/>
                <a:gd name="T6" fmla="*/ 6 w 2250"/>
                <a:gd name="T7" fmla="*/ 1793 h 2293"/>
                <a:gd name="T8" fmla="*/ 3 w 2250"/>
                <a:gd name="T9" fmla="*/ 1760 h 2293"/>
                <a:gd name="T10" fmla="*/ 575 w 2250"/>
                <a:gd name="T11" fmla="*/ 33 h 2293"/>
                <a:gd name="T12" fmla="*/ 626 w 2250"/>
                <a:gd name="T13" fmla="*/ 6 h 2293"/>
                <a:gd name="T14" fmla="*/ 2216 w 2250"/>
                <a:gd name="T15" fmla="*/ 434 h 2293"/>
                <a:gd name="T16" fmla="*/ 2245 w 2250"/>
                <a:gd name="T17" fmla="*/ 483 h 2293"/>
                <a:gd name="T18" fmla="*/ 2201 w 2250"/>
                <a:gd name="T19" fmla="*/ 687 h 2293"/>
                <a:gd name="T20" fmla="*/ 2151 w 2250"/>
                <a:gd name="T21" fmla="*/ 719 h 2293"/>
                <a:gd name="T22" fmla="*/ 2120 w 2250"/>
                <a:gd name="T23" fmla="*/ 669 h 2293"/>
                <a:gd name="T24" fmla="*/ 2156 w 2250"/>
                <a:gd name="T25" fmla="*/ 504 h 2293"/>
                <a:gd name="T26" fmla="*/ 642 w 2250"/>
                <a:gd name="T27" fmla="*/ 96 h 2293"/>
                <a:gd name="T28" fmla="*/ 96 w 2250"/>
                <a:gd name="T29" fmla="*/ 1744 h 2293"/>
                <a:gd name="T30" fmla="*/ 1786 w 2250"/>
                <a:gd name="T31" fmla="*/ 2200 h 2293"/>
                <a:gd name="T32" fmla="*/ 2076 w 2250"/>
                <a:gd name="T33" fmla="*/ 871 h 2293"/>
                <a:gd name="T34" fmla="*/ 2125 w 2250"/>
                <a:gd name="T35" fmla="*/ 839 h 2293"/>
                <a:gd name="T36" fmla="*/ 2157 w 2250"/>
                <a:gd name="T37" fmla="*/ 888 h 2293"/>
                <a:gd name="T38" fmla="*/ 1858 w 2250"/>
                <a:gd name="T39" fmla="*/ 2260 h 2293"/>
                <a:gd name="T40" fmla="*/ 1839 w 2250"/>
                <a:gd name="T41" fmla="*/ 2287 h 2293"/>
                <a:gd name="T42" fmla="*/ 1817 w 2250"/>
                <a:gd name="T43" fmla="*/ 2293 h 2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250" h="2293">
                  <a:moveTo>
                    <a:pt x="1817" y="2293"/>
                  </a:moveTo>
                  <a:cubicBezTo>
                    <a:pt x="1813" y="2293"/>
                    <a:pt x="1810" y="2293"/>
                    <a:pt x="1806" y="2292"/>
                  </a:cubicBezTo>
                  <a:lnTo>
                    <a:pt x="32" y="1813"/>
                  </a:lnTo>
                  <a:cubicBezTo>
                    <a:pt x="21" y="1810"/>
                    <a:pt x="11" y="1803"/>
                    <a:pt x="6" y="1793"/>
                  </a:cubicBezTo>
                  <a:cubicBezTo>
                    <a:pt x="1" y="1783"/>
                    <a:pt x="0" y="1771"/>
                    <a:pt x="3" y="1760"/>
                  </a:cubicBezTo>
                  <a:lnTo>
                    <a:pt x="575" y="33"/>
                  </a:lnTo>
                  <a:cubicBezTo>
                    <a:pt x="582" y="12"/>
                    <a:pt x="605" y="0"/>
                    <a:pt x="626" y="6"/>
                  </a:cubicBezTo>
                  <a:lnTo>
                    <a:pt x="2216" y="434"/>
                  </a:lnTo>
                  <a:cubicBezTo>
                    <a:pt x="2237" y="440"/>
                    <a:pt x="2250" y="462"/>
                    <a:pt x="2245" y="483"/>
                  </a:cubicBezTo>
                  <a:lnTo>
                    <a:pt x="2201" y="687"/>
                  </a:lnTo>
                  <a:cubicBezTo>
                    <a:pt x="2196" y="710"/>
                    <a:pt x="2174" y="724"/>
                    <a:pt x="2151" y="719"/>
                  </a:cubicBezTo>
                  <a:cubicBezTo>
                    <a:pt x="2129" y="714"/>
                    <a:pt x="2115" y="692"/>
                    <a:pt x="2120" y="669"/>
                  </a:cubicBezTo>
                  <a:lnTo>
                    <a:pt x="2156" y="504"/>
                  </a:lnTo>
                  <a:lnTo>
                    <a:pt x="642" y="96"/>
                  </a:lnTo>
                  <a:lnTo>
                    <a:pt x="96" y="1744"/>
                  </a:lnTo>
                  <a:lnTo>
                    <a:pt x="1786" y="2200"/>
                  </a:lnTo>
                  <a:lnTo>
                    <a:pt x="2076" y="871"/>
                  </a:lnTo>
                  <a:cubicBezTo>
                    <a:pt x="2080" y="848"/>
                    <a:pt x="2103" y="834"/>
                    <a:pt x="2125" y="839"/>
                  </a:cubicBezTo>
                  <a:cubicBezTo>
                    <a:pt x="2148" y="844"/>
                    <a:pt x="2162" y="866"/>
                    <a:pt x="2157" y="888"/>
                  </a:cubicBezTo>
                  <a:lnTo>
                    <a:pt x="1858" y="2260"/>
                  </a:lnTo>
                  <a:cubicBezTo>
                    <a:pt x="1855" y="2272"/>
                    <a:pt x="1848" y="2281"/>
                    <a:pt x="1839" y="2287"/>
                  </a:cubicBezTo>
                  <a:cubicBezTo>
                    <a:pt x="1832" y="2291"/>
                    <a:pt x="1825" y="2293"/>
                    <a:pt x="1817" y="2293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1" name="Freeform 65">
              <a:extLst>
                <a:ext uri="{FF2B5EF4-FFF2-40B4-BE49-F238E27FC236}">
                  <a16:creationId xmlns:a16="http://schemas.microsoft.com/office/drawing/2014/main" id="{1777B8E7-3A97-C17E-8435-69D36D08B25C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05953" y="2655642"/>
              <a:ext cx="325011" cy="215764"/>
            </a:xfrm>
            <a:custGeom>
              <a:avLst/>
              <a:gdLst>
                <a:gd name="T0" fmla="*/ 1023 w 1119"/>
                <a:gd name="T1" fmla="*/ 741 h 741"/>
                <a:gd name="T2" fmla="*/ 1015 w 1119"/>
                <a:gd name="T3" fmla="*/ 741 h 741"/>
                <a:gd name="T4" fmla="*/ 982 w 1119"/>
                <a:gd name="T5" fmla="*/ 692 h 741"/>
                <a:gd name="T6" fmla="*/ 650 w 1119"/>
                <a:gd name="T7" fmla="*/ 158 h 741"/>
                <a:gd name="T8" fmla="*/ 86 w 1119"/>
                <a:gd name="T9" fmla="*/ 478 h 741"/>
                <a:gd name="T10" fmla="*/ 35 w 1119"/>
                <a:gd name="T11" fmla="*/ 507 h 741"/>
                <a:gd name="T12" fmla="*/ 6 w 1119"/>
                <a:gd name="T13" fmla="*/ 456 h 741"/>
                <a:gd name="T14" fmla="*/ 672 w 1119"/>
                <a:gd name="T15" fmla="*/ 77 h 741"/>
                <a:gd name="T16" fmla="*/ 1064 w 1119"/>
                <a:gd name="T17" fmla="*/ 708 h 741"/>
                <a:gd name="T18" fmla="*/ 1023 w 1119"/>
                <a:gd name="T19" fmla="*/ 741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19" h="741">
                  <a:moveTo>
                    <a:pt x="1023" y="741"/>
                  </a:moveTo>
                  <a:cubicBezTo>
                    <a:pt x="1021" y="741"/>
                    <a:pt x="1018" y="741"/>
                    <a:pt x="1015" y="741"/>
                  </a:cubicBezTo>
                  <a:cubicBezTo>
                    <a:pt x="993" y="736"/>
                    <a:pt x="978" y="714"/>
                    <a:pt x="982" y="692"/>
                  </a:cubicBezTo>
                  <a:cubicBezTo>
                    <a:pt x="1029" y="455"/>
                    <a:pt x="883" y="221"/>
                    <a:pt x="650" y="158"/>
                  </a:cubicBezTo>
                  <a:cubicBezTo>
                    <a:pt x="407" y="92"/>
                    <a:pt x="154" y="236"/>
                    <a:pt x="86" y="478"/>
                  </a:cubicBezTo>
                  <a:cubicBezTo>
                    <a:pt x="80" y="501"/>
                    <a:pt x="57" y="514"/>
                    <a:pt x="35" y="507"/>
                  </a:cubicBezTo>
                  <a:cubicBezTo>
                    <a:pt x="13" y="501"/>
                    <a:pt x="0" y="478"/>
                    <a:pt x="6" y="456"/>
                  </a:cubicBezTo>
                  <a:cubicBezTo>
                    <a:pt x="86" y="170"/>
                    <a:pt x="385" y="0"/>
                    <a:pt x="672" y="77"/>
                  </a:cubicBezTo>
                  <a:cubicBezTo>
                    <a:pt x="947" y="152"/>
                    <a:pt x="1119" y="428"/>
                    <a:pt x="1064" y="708"/>
                  </a:cubicBezTo>
                  <a:cubicBezTo>
                    <a:pt x="1060" y="728"/>
                    <a:pt x="1043" y="741"/>
                    <a:pt x="1023" y="741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2" name="Freeform 66">
              <a:extLst>
                <a:ext uri="{FF2B5EF4-FFF2-40B4-BE49-F238E27FC236}">
                  <a16:creationId xmlns:a16="http://schemas.microsoft.com/office/drawing/2014/main" id="{A93BF74A-DDE4-AC0C-F494-0EB5D55ED926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506884" y="2877963"/>
              <a:ext cx="65548" cy="60086"/>
            </a:xfrm>
            <a:custGeom>
              <a:avLst/>
              <a:gdLst>
                <a:gd name="T0" fmla="*/ 115 w 229"/>
                <a:gd name="T1" fmla="*/ 83 h 206"/>
                <a:gd name="T2" fmla="*/ 96 w 229"/>
                <a:gd name="T3" fmla="*/ 98 h 206"/>
                <a:gd name="T4" fmla="*/ 110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5 w 229"/>
                <a:gd name="T11" fmla="*/ 83 h 206"/>
                <a:gd name="T12" fmla="*/ 115 w 229"/>
                <a:gd name="T13" fmla="*/ 206 h 206"/>
                <a:gd name="T14" fmla="*/ 88 w 229"/>
                <a:gd name="T15" fmla="*/ 203 h 206"/>
                <a:gd name="T16" fmla="*/ 15 w 229"/>
                <a:gd name="T17" fmla="*/ 76 h 206"/>
                <a:gd name="T18" fmla="*/ 115 w 229"/>
                <a:gd name="T19" fmla="*/ 0 h 206"/>
                <a:gd name="T20" fmla="*/ 142 w 229"/>
                <a:gd name="T21" fmla="*/ 3 h 206"/>
                <a:gd name="T22" fmla="*/ 214 w 229"/>
                <a:gd name="T23" fmla="*/ 130 h 206"/>
                <a:gd name="T24" fmla="*/ 115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5" y="83"/>
                  </a:moveTo>
                  <a:cubicBezTo>
                    <a:pt x="106" y="83"/>
                    <a:pt x="98" y="89"/>
                    <a:pt x="96" y="98"/>
                  </a:cubicBezTo>
                  <a:cubicBezTo>
                    <a:pt x="93" y="109"/>
                    <a:pt x="99" y="120"/>
                    <a:pt x="110" y="122"/>
                  </a:cubicBezTo>
                  <a:cubicBezTo>
                    <a:pt x="120" y="125"/>
                    <a:pt x="131" y="119"/>
                    <a:pt x="134" y="108"/>
                  </a:cubicBezTo>
                  <a:cubicBezTo>
                    <a:pt x="137" y="98"/>
                    <a:pt x="131" y="87"/>
                    <a:pt x="120" y="84"/>
                  </a:cubicBezTo>
                  <a:cubicBezTo>
                    <a:pt x="118" y="83"/>
                    <a:pt x="116" y="83"/>
                    <a:pt x="115" y="83"/>
                  </a:cubicBezTo>
                  <a:close/>
                  <a:moveTo>
                    <a:pt x="115" y="206"/>
                  </a:moveTo>
                  <a:cubicBezTo>
                    <a:pt x="106" y="206"/>
                    <a:pt x="97" y="205"/>
                    <a:pt x="88" y="203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5" y="0"/>
                  </a:cubicBezTo>
                  <a:cubicBezTo>
                    <a:pt x="124" y="0"/>
                    <a:pt x="133" y="1"/>
                    <a:pt x="142" y="3"/>
                  </a:cubicBezTo>
                  <a:cubicBezTo>
                    <a:pt x="197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5" y="20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3" name="Freeform 67">
              <a:extLst>
                <a:ext uri="{FF2B5EF4-FFF2-40B4-BE49-F238E27FC236}">
                  <a16:creationId xmlns:a16="http://schemas.microsoft.com/office/drawing/2014/main" id="{E73B8623-16E4-C266-41DB-3ED3ACC92F88}"/>
                </a:ext>
              </a:extLst>
            </p:cNvPr>
            <p:cNvSpPr>
              <a:spLocks noEditPoints="1"/>
            </p:cNvSpPr>
            <p:nvPr/>
          </p:nvSpPr>
          <p:spPr bwMode="auto">
            <a:xfrm rot="20677250">
              <a:off x="1763906" y="2875250"/>
              <a:ext cx="65548" cy="60086"/>
            </a:xfrm>
            <a:custGeom>
              <a:avLst/>
              <a:gdLst>
                <a:gd name="T0" fmla="*/ 114 w 229"/>
                <a:gd name="T1" fmla="*/ 83 h 206"/>
                <a:gd name="T2" fmla="*/ 95 w 229"/>
                <a:gd name="T3" fmla="*/ 98 h 206"/>
                <a:gd name="T4" fmla="*/ 109 w 229"/>
                <a:gd name="T5" fmla="*/ 122 h 206"/>
                <a:gd name="T6" fmla="*/ 134 w 229"/>
                <a:gd name="T7" fmla="*/ 108 h 206"/>
                <a:gd name="T8" fmla="*/ 120 w 229"/>
                <a:gd name="T9" fmla="*/ 84 h 206"/>
                <a:gd name="T10" fmla="*/ 114 w 229"/>
                <a:gd name="T11" fmla="*/ 83 h 206"/>
                <a:gd name="T12" fmla="*/ 114 w 229"/>
                <a:gd name="T13" fmla="*/ 206 h 206"/>
                <a:gd name="T14" fmla="*/ 88 w 229"/>
                <a:gd name="T15" fmla="*/ 202 h 206"/>
                <a:gd name="T16" fmla="*/ 15 w 229"/>
                <a:gd name="T17" fmla="*/ 76 h 206"/>
                <a:gd name="T18" fmla="*/ 114 w 229"/>
                <a:gd name="T19" fmla="*/ 0 h 206"/>
                <a:gd name="T20" fmla="*/ 141 w 229"/>
                <a:gd name="T21" fmla="*/ 3 h 206"/>
                <a:gd name="T22" fmla="*/ 214 w 229"/>
                <a:gd name="T23" fmla="*/ 130 h 206"/>
                <a:gd name="T24" fmla="*/ 114 w 229"/>
                <a:gd name="T25" fmla="*/ 20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9" h="206">
                  <a:moveTo>
                    <a:pt x="114" y="83"/>
                  </a:moveTo>
                  <a:cubicBezTo>
                    <a:pt x="105" y="83"/>
                    <a:pt x="97" y="89"/>
                    <a:pt x="95" y="98"/>
                  </a:cubicBezTo>
                  <a:cubicBezTo>
                    <a:pt x="92" y="108"/>
                    <a:pt x="99" y="119"/>
                    <a:pt x="109" y="122"/>
                  </a:cubicBezTo>
                  <a:cubicBezTo>
                    <a:pt x="120" y="125"/>
                    <a:pt x="131" y="118"/>
                    <a:pt x="134" y="108"/>
                  </a:cubicBezTo>
                  <a:cubicBezTo>
                    <a:pt x="136" y="97"/>
                    <a:pt x="130" y="86"/>
                    <a:pt x="120" y="84"/>
                  </a:cubicBezTo>
                  <a:cubicBezTo>
                    <a:pt x="118" y="83"/>
                    <a:pt x="116" y="83"/>
                    <a:pt x="114" y="83"/>
                  </a:cubicBezTo>
                  <a:close/>
                  <a:moveTo>
                    <a:pt x="114" y="206"/>
                  </a:moveTo>
                  <a:cubicBezTo>
                    <a:pt x="105" y="206"/>
                    <a:pt x="96" y="205"/>
                    <a:pt x="88" y="202"/>
                  </a:cubicBezTo>
                  <a:cubicBezTo>
                    <a:pt x="33" y="188"/>
                    <a:pt x="0" y="131"/>
                    <a:pt x="15" y="76"/>
                  </a:cubicBezTo>
                  <a:cubicBezTo>
                    <a:pt x="27" y="31"/>
                    <a:pt x="68" y="0"/>
                    <a:pt x="114" y="0"/>
                  </a:cubicBezTo>
                  <a:cubicBezTo>
                    <a:pt x="123" y="0"/>
                    <a:pt x="132" y="1"/>
                    <a:pt x="141" y="3"/>
                  </a:cubicBezTo>
                  <a:cubicBezTo>
                    <a:pt x="196" y="18"/>
                    <a:pt x="229" y="75"/>
                    <a:pt x="214" y="130"/>
                  </a:cubicBezTo>
                  <a:cubicBezTo>
                    <a:pt x="202" y="175"/>
                    <a:pt x="161" y="206"/>
                    <a:pt x="114" y="20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  <p:sp>
          <p:nvSpPr>
            <p:cNvPr id="94" name="Freeform 68">
              <a:extLst>
                <a:ext uri="{FF2B5EF4-FFF2-40B4-BE49-F238E27FC236}">
                  <a16:creationId xmlns:a16="http://schemas.microsoft.com/office/drawing/2014/main" id="{DD758AEF-8E01-57A4-2AAB-09DCF66D7084}"/>
                </a:ext>
              </a:extLst>
            </p:cNvPr>
            <p:cNvSpPr>
              <a:spLocks/>
            </p:cNvSpPr>
            <p:nvPr/>
          </p:nvSpPr>
          <p:spPr bwMode="auto">
            <a:xfrm rot="20677250">
              <a:off x="1532927" y="2859857"/>
              <a:ext cx="273118" cy="92860"/>
            </a:xfrm>
            <a:custGeom>
              <a:avLst/>
              <a:gdLst>
                <a:gd name="T0" fmla="*/ 899 w 945"/>
                <a:gd name="T1" fmla="*/ 318 h 318"/>
                <a:gd name="T2" fmla="*/ 888 w 945"/>
                <a:gd name="T3" fmla="*/ 316 h 318"/>
                <a:gd name="T4" fmla="*/ 35 w 945"/>
                <a:gd name="T5" fmla="*/ 86 h 318"/>
                <a:gd name="T6" fmla="*/ 6 w 945"/>
                <a:gd name="T7" fmla="*/ 35 h 318"/>
                <a:gd name="T8" fmla="*/ 57 w 945"/>
                <a:gd name="T9" fmla="*/ 6 h 318"/>
                <a:gd name="T10" fmla="*/ 910 w 945"/>
                <a:gd name="T11" fmla="*/ 236 h 318"/>
                <a:gd name="T12" fmla="*/ 939 w 945"/>
                <a:gd name="T13" fmla="*/ 287 h 318"/>
                <a:gd name="T14" fmla="*/ 899 w 945"/>
                <a:gd name="T15" fmla="*/ 318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45" h="318">
                  <a:moveTo>
                    <a:pt x="899" y="318"/>
                  </a:moveTo>
                  <a:cubicBezTo>
                    <a:pt x="895" y="318"/>
                    <a:pt x="892" y="317"/>
                    <a:pt x="888" y="316"/>
                  </a:cubicBezTo>
                  <a:lnTo>
                    <a:pt x="35" y="86"/>
                  </a:lnTo>
                  <a:cubicBezTo>
                    <a:pt x="13" y="80"/>
                    <a:pt x="0" y="57"/>
                    <a:pt x="6" y="35"/>
                  </a:cubicBezTo>
                  <a:cubicBezTo>
                    <a:pt x="12" y="13"/>
                    <a:pt x="35" y="0"/>
                    <a:pt x="57" y="6"/>
                  </a:cubicBezTo>
                  <a:lnTo>
                    <a:pt x="910" y="236"/>
                  </a:lnTo>
                  <a:cubicBezTo>
                    <a:pt x="932" y="242"/>
                    <a:pt x="945" y="264"/>
                    <a:pt x="939" y="287"/>
                  </a:cubicBezTo>
                  <a:cubicBezTo>
                    <a:pt x="934" y="305"/>
                    <a:pt x="917" y="318"/>
                    <a:pt x="899" y="31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/>
            </a:p>
          </p:txBody>
        </p:sp>
      </p:grpSp>
      <p:pic>
        <p:nvPicPr>
          <p:cNvPr id="9" name="Graphic 8" descr="Tie outline">
            <a:extLst>
              <a:ext uri="{FF2B5EF4-FFF2-40B4-BE49-F238E27FC236}">
                <a16:creationId xmlns:a16="http://schemas.microsoft.com/office/drawing/2014/main" id="{86F6CA03-5DB5-D253-8F54-AEE1AD798D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403611" y="350899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5382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Back to School promo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* Letters or 50k Catalogues. The maximum volume is 1m items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acquisition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100k Letters or 50k Catalogues. The maximum volume is 1m item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37DC69A-2DD4-030D-F771-6A5D9FFE6E8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4546039" y="3448855"/>
            <a:ext cx="910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0 June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4100853" y="4437606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6644413" y="3448855"/>
            <a:ext cx="11358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5 August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6388350" y="4437076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4177445" y="2524820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6388350" y="2524820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8587505" y="4434028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8650857" y="2524820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8906921" y="3448855"/>
            <a:ext cx="11358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9 August</a:t>
            </a:r>
          </a:p>
          <a:p>
            <a:pPr algn="ctr"/>
            <a:r>
              <a:rPr lang="en-GB" b="1" dirty="0"/>
              <a:t>2025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1856255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1745968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2224849" y="3429997"/>
            <a:ext cx="9108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5 June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36</Words>
  <Application>Microsoft Office PowerPoint</Application>
  <PresentationFormat>Widescreen</PresentationFormat>
  <Paragraphs>142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ROYAL MAIL BACK TO SCHOOL INCENTIVE - 2025-2026</vt:lpstr>
      <vt:lpstr>Incentive Content guidance</vt:lpstr>
      <vt:lpstr>Mail achieves high engagement</vt:lpstr>
      <vt:lpstr>Key metrics for retail mail</vt:lpstr>
      <vt:lpstr>COMMERCIAL ENGAGEMENT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4-15T14:1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